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20" r:id="rId2"/>
  </p:sldMasterIdLst>
  <p:notesMasterIdLst>
    <p:notesMasterId r:id="rId9"/>
  </p:notesMasterIdLst>
  <p:handoutMasterIdLst>
    <p:handoutMasterId r:id="rId10"/>
  </p:handoutMasterIdLst>
  <p:sldIdLst>
    <p:sldId id="269" r:id="rId3"/>
    <p:sldId id="266" r:id="rId4"/>
    <p:sldId id="265" r:id="rId5"/>
    <p:sldId id="264" r:id="rId6"/>
    <p:sldId id="257" r:id="rId7"/>
    <p:sldId id="268" r:id="rId8"/>
  </p:sldIdLst>
  <p:sldSz cx="9144000" cy="6858000" type="screen4x3"/>
  <p:notesSz cx="6858000" cy="9144000"/>
  <p:custDataLst>
    <p:tags r:id="rId1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99FF"/>
    <a:srgbClr val="B7B9BA"/>
    <a:srgbClr val="008BC5"/>
    <a:srgbClr val="B9C9D0"/>
    <a:srgbClr val="0051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240" autoAdjust="0"/>
    <p:restoredTop sz="94753" autoAdjust="0"/>
  </p:normalViewPr>
  <p:slideViewPr>
    <p:cSldViewPr snapToGrid="0" snapToObjects="1" showGuides="1">
      <p:cViewPr>
        <p:scale>
          <a:sx n="110" d="100"/>
          <a:sy n="110" d="100"/>
        </p:scale>
        <p:origin x="-1926" y="-102"/>
      </p:cViewPr>
      <p:guideLst>
        <p:guide orient="horz" pos="2160"/>
        <p:guide orient="horz" pos="1031"/>
        <p:guide orient="horz" pos="3911"/>
        <p:guide orient="horz" pos="912"/>
        <p:guide orient="horz" pos="4035"/>
        <p:guide orient="horz"/>
        <p:guide orient="horz" pos="3788"/>
        <p:guide pos="2880"/>
        <p:guide pos="230"/>
        <p:guide pos="55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96" d="100"/>
          <a:sy n="96" d="100"/>
        </p:scale>
        <p:origin x="-3606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FDD7AD-7DC9-4468-9D53-E69282090DC0}" type="datetimeFigureOut">
              <a:rPr lang="en-US" smtClean="0">
                <a:latin typeface="Arial" pitchFamily="34" charset="0"/>
              </a:rPr>
              <a:pPr/>
              <a:t>8/25/2017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238FF3-9389-4537-82B5-32AB07A6E6F8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0024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FA866212-A13C-426A-870F-66095A586268}" type="datetimeFigureOut">
              <a:rPr lang="en-US" smtClean="0"/>
              <a:pPr/>
              <a:t>8/25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23F60FE-262D-4007-9B1B-BAA163FAD1B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9767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jpe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.jpe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Rectangle 193"/>
          <p:cNvSpPr/>
          <p:nvPr userDrawn="1"/>
        </p:nvSpPr>
        <p:spPr bwMode="white">
          <a:xfrm>
            <a:off x="0" y="1"/>
            <a:ext cx="9144000" cy="2820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196" name="Group 195"/>
          <p:cNvGrpSpPr>
            <a:grpSpLocks noChangeAspect="1"/>
          </p:cNvGrpSpPr>
          <p:nvPr userDrawn="1"/>
        </p:nvGrpSpPr>
        <p:grpSpPr bwMode="black">
          <a:xfrm>
            <a:off x="5619753" y="1581491"/>
            <a:ext cx="3228853" cy="604800"/>
            <a:chOff x="1427163" y="-1920875"/>
            <a:chExt cx="7881938" cy="1476375"/>
          </a:xfrm>
        </p:grpSpPr>
        <p:sp>
          <p:nvSpPr>
            <p:cNvPr id="197" name="AutoShape 21"/>
            <p:cNvSpPr>
              <a:spLocks noChangeAspect="1" noChangeArrowheads="1" noTextEdit="1"/>
            </p:cNvSpPr>
            <p:nvPr/>
          </p:nvSpPr>
          <p:spPr bwMode="black">
            <a:xfrm>
              <a:off x="1427163" y="-1917700"/>
              <a:ext cx="7874000" cy="1473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23"/>
            <p:cNvSpPr>
              <a:spLocks noEditPoints="1"/>
            </p:cNvSpPr>
            <p:nvPr/>
          </p:nvSpPr>
          <p:spPr bwMode="black">
            <a:xfrm>
              <a:off x="5854701" y="-1920875"/>
              <a:ext cx="3454400" cy="1473200"/>
            </a:xfrm>
            <a:custGeom>
              <a:avLst/>
              <a:gdLst/>
              <a:ahLst/>
              <a:cxnLst>
                <a:cxn ang="0">
                  <a:pos x="898" y="12"/>
                </a:cxn>
                <a:cxn ang="0">
                  <a:pos x="882" y="34"/>
                </a:cxn>
                <a:cxn ang="0">
                  <a:pos x="865" y="65"/>
                </a:cxn>
                <a:cxn ang="0">
                  <a:pos x="872" y="23"/>
                </a:cxn>
                <a:cxn ang="0">
                  <a:pos x="869" y="1"/>
                </a:cxn>
                <a:cxn ang="0">
                  <a:pos x="857" y="38"/>
                </a:cxn>
                <a:cxn ang="0">
                  <a:pos x="848" y="76"/>
                </a:cxn>
                <a:cxn ang="0">
                  <a:pos x="845" y="17"/>
                </a:cxn>
                <a:cxn ang="0">
                  <a:pos x="833" y="31"/>
                </a:cxn>
                <a:cxn ang="0">
                  <a:pos x="834" y="63"/>
                </a:cxn>
                <a:cxn ang="0">
                  <a:pos x="832" y="59"/>
                </a:cxn>
                <a:cxn ang="0">
                  <a:pos x="818" y="33"/>
                </a:cxn>
                <a:cxn ang="0">
                  <a:pos x="819" y="69"/>
                </a:cxn>
                <a:cxn ang="0">
                  <a:pos x="798" y="105"/>
                </a:cxn>
                <a:cxn ang="0">
                  <a:pos x="750" y="107"/>
                </a:cxn>
                <a:cxn ang="0">
                  <a:pos x="633" y="184"/>
                </a:cxn>
                <a:cxn ang="0">
                  <a:pos x="496" y="256"/>
                </a:cxn>
                <a:cxn ang="0">
                  <a:pos x="536" y="219"/>
                </a:cxn>
                <a:cxn ang="0">
                  <a:pos x="322" y="389"/>
                </a:cxn>
                <a:cxn ang="0">
                  <a:pos x="423" y="393"/>
                </a:cxn>
                <a:cxn ang="0">
                  <a:pos x="418" y="346"/>
                </a:cxn>
                <a:cxn ang="0">
                  <a:pos x="645" y="268"/>
                </a:cxn>
                <a:cxn ang="0">
                  <a:pos x="766" y="146"/>
                </a:cxn>
                <a:cxn ang="0">
                  <a:pos x="830" y="108"/>
                </a:cxn>
                <a:cxn ang="0">
                  <a:pos x="853" y="91"/>
                </a:cxn>
                <a:cxn ang="0">
                  <a:pos x="884" y="56"/>
                </a:cxn>
                <a:cxn ang="0">
                  <a:pos x="915" y="9"/>
                </a:cxn>
                <a:cxn ang="0">
                  <a:pos x="417" y="125"/>
                </a:cxn>
                <a:cxn ang="0">
                  <a:pos x="425" y="117"/>
                </a:cxn>
                <a:cxn ang="0">
                  <a:pos x="401" y="109"/>
                </a:cxn>
                <a:cxn ang="0">
                  <a:pos x="417" y="125"/>
                </a:cxn>
                <a:cxn ang="0">
                  <a:pos x="356" y="110"/>
                </a:cxn>
                <a:cxn ang="0">
                  <a:pos x="355" y="147"/>
                </a:cxn>
                <a:cxn ang="0">
                  <a:pos x="351" y="135"/>
                </a:cxn>
                <a:cxn ang="0">
                  <a:pos x="335" y="119"/>
                </a:cxn>
                <a:cxn ang="0">
                  <a:pos x="435" y="213"/>
                </a:cxn>
                <a:cxn ang="0">
                  <a:pos x="361" y="234"/>
                </a:cxn>
                <a:cxn ang="0">
                  <a:pos x="369" y="209"/>
                </a:cxn>
                <a:cxn ang="0">
                  <a:pos x="372" y="183"/>
                </a:cxn>
                <a:cxn ang="0">
                  <a:pos x="392" y="172"/>
                </a:cxn>
                <a:cxn ang="0">
                  <a:pos x="377" y="163"/>
                </a:cxn>
                <a:cxn ang="0">
                  <a:pos x="400" y="164"/>
                </a:cxn>
                <a:cxn ang="0">
                  <a:pos x="388" y="153"/>
                </a:cxn>
                <a:cxn ang="0">
                  <a:pos x="396" y="139"/>
                </a:cxn>
                <a:cxn ang="0">
                  <a:pos x="369" y="88"/>
                </a:cxn>
                <a:cxn ang="0">
                  <a:pos x="319" y="39"/>
                </a:cxn>
                <a:cxn ang="0">
                  <a:pos x="275" y="91"/>
                </a:cxn>
                <a:cxn ang="0">
                  <a:pos x="288" y="98"/>
                </a:cxn>
                <a:cxn ang="0">
                  <a:pos x="293" y="147"/>
                </a:cxn>
                <a:cxn ang="0">
                  <a:pos x="292" y="276"/>
                </a:cxn>
                <a:cxn ang="0">
                  <a:pos x="278" y="272"/>
                </a:cxn>
                <a:cxn ang="0">
                  <a:pos x="248" y="289"/>
                </a:cxn>
                <a:cxn ang="0">
                  <a:pos x="186" y="332"/>
                </a:cxn>
                <a:cxn ang="0">
                  <a:pos x="119" y="365"/>
                </a:cxn>
                <a:cxn ang="0">
                  <a:pos x="267" y="393"/>
                </a:cxn>
                <a:cxn ang="0">
                  <a:pos x="756" y="99"/>
                </a:cxn>
                <a:cxn ang="0">
                  <a:pos x="805" y="78"/>
                </a:cxn>
                <a:cxn ang="0">
                  <a:pos x="791" y="68"/>
                </a:cxn>
                <a:cxn ang="0">
                  <a:pos x="807" y="34"/>
                </a:cxn>
                <a:cxn ang="0">
                  <a:pos x="783" y="45"/>
                </a:cxn>
                <a:cxn ang="0">
                  <a:pos x="754" y="98"/>
                </a:cxn>
              </a:cxnLst>
              <a:rect l="0" t="0" r="r" b="b"/>
              <a:pathLst>
                <a:path w="921" h="393">
                  <a:moveTo>
                    <a:pt x="910" y="2"/>
                  </a:moveTo>
                  <a:cubicBezTo>
                    <a:pt x="906" y="3"/>
                    <a:pt x="902" y="6"/>
                    <a:pt x="898" y="12"/>
                  </a:cubicBezTo>
                  <a:cubicBezTo>
                    <a:pt x="896" y="14"/>
                    <a:pt x="892" y="21"/>
                    <a:pt x="890" y="26"/>
                  </a:cubicBezTo>
                  <a:cubicBezTo>
                    <a:pt x="886" y="29"/>
                    <a:pt x="885" y="31"/>
                    <a:pt x="882" y="34"/>
                  </a:cubicBezTo>
                  <a:cubicBezTo>
                    <a:pt x="879" y="37"/>
                    <a:pt x="875" y="42"/>
                    <a:pt x="874" y="43"/>
                  </a:cubicBezTo>
                  <a:cubicBezTo>
                    <a:pt x="872" y="50"/>
                    <a:pt x="865" y="65"/>
                    <a:pt x="865" y="65"/>
                  </a:cubicBezTo>
                  <a:cubicBezTo>
                    <a:pt x="866" y="58"/>
                    <a:pt x="872" y="41"/>
                    <a:pt x="873" y="37"/>
                  </a:cubicBezTo>
                  <a:cubicBezTo>
                    <a:pt x="874" y="33"/>
                    <a:pt x="872" y="27"/>
                    <a:pt x="872" y="23"/>
                  </a:cubicBezTo>
                  <a:cubicBezTo>
                    <a:pt x="871" y="19"/>
                    <a:pt x="871" y="15"/>
                    <a:pt x="871" y="12"/>
                  </a:cubicBezTo>
                  <a:cubicBezTo>
                    <a:pt x="871" y="10"/>
                    <a:pt x="873" y="0"/>
                    <a:pt x="869" y="1"/>
                  </a:cubicBezTo>
                  <a:cubicBezTo>
                    <a:pt x="866" y="1"/>
                    <a:pt x="860" y="3"/>
                    <a:pt x="858" y="12"/>
                  </a:cubicBezTo>
                  <a:cubicBezTo>
                    <a:pt x="857" y="18"/>
                    <a:pt x="858" y="27"/>
                    <a:pt x="857" y="38"/>
                  </a:cubicBezTo>
                  <a:cubicBezTo>
                    <a:pt x="857" y="40"/>
                    <a:pt x="855" y="43"/>
                    <a:pt x="854" y="50"/>
                  </a:cubicBezTo>
                  <a:cubicBezTo>
                    <a:pt x="852" y="57"/>
                    <a:pt x="850" y="68"/>
                    <a:pt x="848" y="76"/>
                  </a:cubicBezTo>
                  <a:cubicBezTo>
                    <a:pt x="848" y="73"/>
                    <a:pt x="851" y="56"/>
                    <a:pt x="851" y="49"/>
                  </a:cubicBezTo>
                  <a:cubicBezTo>
                    <a:pt x="852" y="42"/>
                    <a:pt x="846" y="20"/>
                    <a:pt x="845" y="17"/>
                  </a:cubicBezTo>
                  <a:cubicBezTo>
                    <a:pt x="845" y="14"/>
                    <a:pt x="844" y="13"/>
                    <a:pt x="842" y="13"/>
                  </a:cubicBezTo>
                  <a:cubicBezTo>
                    <a:pt x="837" y="12"/>
                    <a:pt x="832" y="20"/>
                    <a:pt x="833" y="31"/>
                  </a:cubicBezTo>
                  <a:cubicBezTo>
                    <a:pt x="834" y="34"/>
                    <a:pt x="838" y="44"/>
                    <a:pt x="838" y="49"/>
                  </a:cubicBezTo>
                  <a:cubicBezTo>
                    <a:pt x="837" y="54"/>
                    <a:pt x="835" y="60"/>
                    <a:pt x="834" y="63"/>
                  </a:cubicBezTo>
                  <a:cubicBezTo>
                    <a:pt x="834" y="70"/>
                    <a:pt x="833" y="80"/>
                    <a:pt x="832" y="85"/>
                  </a:cubicBezTo>
                  <a:cubicBezTo>
                    <a:pt x="833" y="81"/>
                    <a:pt x="832" y="62"/>
                    <a:pt x="832" y="59"/>
                  </a:cubicBezTo>
                  <a:cubicBezTo>
                    <a:pt x="831" y="56"/>
                    <a:pt x="826" y="43"/>
                    <a:pt x="823" y="35"/>
                  </a:cubicBezTo>
                  <a:cubicBezTo>
                    <a:pt x="822" y="32"/>
                    <a:pt x="820" y="32"/>
                    <a:pt x="818" y="33"/>
                  </a:cubicBezTo>
                  <a:cubicBezTo>
                    <a:pt x="812" y="36"/>
                    <a:pt x="812" y="47"/>
                    <a:pt x="813" y="52"/>
                  </a:cubicBezTo>
                  <a:cubicBezTo>
                    <a:pt x="814" y="54"/>
                    <a:pt x="817" y="62"/>
                    <a:pt x="819" y="69"/>
                  </a:cubicBezTo>
                  <a:cubicBezTo>
                    <a:pt x="815" y="100"/>
                    <a:pt x="808" y="102"/>
                    <a:pt x="808" y="102"/>
                  </a:cubicBezTo>
                  <a:cubicBezTo>
                    <a:pt x="808" y="102"/>
                    <a:pt x="806" y="104"/>
                    <a:pt x="798" y="105"/>
                  </a:cubicBezTo>
                  <a:cubicBezTo>
                    <a:pt x="784" y="108"/>
                    <a:pt x="759" y="114"/>
                    <a:pt x="752" y="107"/>
                  </a:cubicBezTo>
                  <a:cubicBezTo>
                    <a:pt x="752" y="107"/>
                    <a:pt x="751" y="106"/>
                    <a:pt x="750" y="107"/>
                  </a:cubicBezTo>
                  <a:cubicBezTo>
                    <a:pt x="748" y="108"/>
                    <a:pt x="730" y="124"/>
                    <a:pt x="719" y="132"/>
                  </a:cubicBezTo>
                  <a:cubicBezTo>
                    <a:pt x="684" y="158"/>
                    <a:pt x="661" y="165"/>
                    <a:pt x="633" y="184"/>
                  </a:cubicBezTo>
                  <a:cubicBezTo>
                    <a:pt x="602" y="234"/>
                    <a:pt x="572" y="250"/>
                    <a:pt x="533" y="261"/>
                  </a:cubicBezTo>
                  <a:cubicBezTo>
                    <a:pt x="516" y="266"/>
                    <a:pt x="500" y="265"/>
                    <a:pt x="496" y="256"/>
                  </a:cubicBezTo>
                  <a:cubicBezTo>
                    <a:pt x="489" y="235"/>
                    <a:pt x="517" y="224"/>
                    <a:pt x="536" y="221"/>
                  </a:cubicBezTo>
                  <a:cubicBezTo>
                    <a:pt x="537" y="221"/>
                    <a:pt x="537" y="219"/>
                    <a:pt x="536" y="219"/>
                  </a:cubicBezTo>
                  <a:cubicBezTo>
                    <a:pt x="527" y="214"/>
                    <a:pt x="516" y="211"/>
                    <a:pt x="503" y="211"/>
                  </a:cubicBezTo>
                  <a:cubicBezTo>
                    <a:pt x="405" y="209"/>
                    <a:pt x="313" y="326"/>
                    <a:pt x="322" y="389"/>
                  </a:cubicBezTo>
                  <a:cubicBezTo>
                    <a:pt x="322" y="390"/>
                    <a:pt x="322" y="392"/>
                    <a:pt x="322" y="393"/>
                  </a:cubicBezTo>
                  <a:cubicBezTo>
                    <a:pt x="423" y="393"/>
                    <a:pt x="423" y="393"/>
                    <a:pt x="423" y="393"/>
                  </a:cubicBezTo>
                  <a:cubicBezTo>
                    <a:pt x="437" y="380"/>
                    <a:pt x="452" y="363"/>
                    <a:pt x="467" y="342"/>
                  </a:cubicBezTo>
                  <a:cubicBezTo>
                    <a:pt x="467" y="342"/>
                    <a:pt x="440" y="347"/>
                    <a:pt x="418" y="346"/>
                  </a:cubicBezTo>
                  <a:cubicBezTo>
                    <a:pt x="418" y="346"/>
                    <a:pt x="448" y="340"/>
                    <a:pt x="491" y="311"/>
                  </a:cubicBezTo>
                  <a:cubicBezTo>
                    <a:pt x="562" y="329"/>
                    <a:pt x="626" y="237"/>
                    <a:pt x="645" y="268"/>
                  </a:cubicBezTo>
                  <a:cubicBezTo>
                    <a:pt x="645" y="269"/>
                    <a:pt x="647" y="268"/>
                    <a:pt x="647" y="268"/>
                  </a:cubicBezTo>
                  <a:cubicBezTo>
                    <a:pt x="704" y="229"/>
                    <a:pt x="726" y="180"/>
                    <a:pt x="766" y="146"/>
                  </a:cubicBezTo>
                  <a:cubicBezTo>
                    <a:pt x="784" y="131"/>
                    <a:pt x="787" y="125"/>
                    <a:pt x="818" y="117"/>
                  </a:cubicBezTo>
                  <a:cubicBezTo>
                    <a:pt x="827" y="114"/>
                    <a:pt x="827" y="111"/>
                    <a:pt x="830" y="108"/>
                  </a:cubicBezTo>
                  <a:cubicBezTo>
                    <a:pt x="834" y="103"/>
                    <a:pt x="840" y="107"/>
                    <a:pt x="844" y="100"/>
                  </a:cubicBezTo>
                  <a:cubicBezTo>
                    <a:pt x="846" y="97"/>
                    <a:pt x="844" y="92"/>
                    <a:pt x="853" y="91"/>
                  </a:cubicBezTo>
                  <a:cubicBezTo>
                    <a:pt x="861" y="89"/>
                    <a:pt x="862" y="81"/>
                    <a:pt x="866" y="77"/>
                  </a:cubicBezTo>
                  <a:cubicBezTo>
                    <a:pt x="876" y="65"/>
                    <a:pt x="875" y="66"/>
                    <a:pt x="884" y="56"/>
                  </a:cubicBezTo>
                  <a:cubicBezTo>
                    <a:pt x="888" y="52"/>
                    <a:pt x="901" y="35"/>
                    <a:pt x="903" y="33"/>
                  </a:cubicBezTo>
                  <a:cubicBezTo>
                    <a:pt x="905" y="29"/>
                    <a:pt x="909" y="16"/>
                    <a:pt x="915" y="9"/>
                  </a:cubicBezTo>
                  <a:cubicBezTo>
                    <a:pt x="921" y="3"/>
                    <a:pt x="916" y="0"/>
                    <a:pt x="910" y="2"/>
                  </a:cubicBezTo>
                  <a:close/>
                  <a:moveTo>
                    <a:pt x="417" y="125"/>
                  </a:moveTo>
                  <a:cubicBezTo>
                    <a:pt x="418" y="125"/>
                    <a:pt x="419" y="125"/>
                    <a:pt x="420" y="124"/>
                  </a:cubicBezTo>
                  <a:cubicBezTo>
                    <a:pt x="422" y="122"/>
                    <a:pt x="425" y="119"/>
                    <a:pt x="425" y="117"/>
                  </a:cubicBezTo>
                  <a:cubicBezTo>
                    <a:pt x="425" y="113"/>
                    <a:pt x="419" y="107"/>
                    <a:pt x="409" y="107"/>
                  </a:cubicBezTo>
                  <a:cubicBezTo>
                    <a:pt x="405" y="106"/>
                    <a:pt x="404" y="107"/>
                    <a:pt x="401" y="109"/>
                  </a:cubicBezTo>
                  <a:cubicBezTo>
                    <a:pt x="398" y="113"/>
                    <a:pt x="401" y="121"/>
                    <a:pt x="402" y="123"/>
                  </a:cubicBezTo>
                  <a:cubicBezTo>
                    <a:pt x="410" y="123"/>
                    <a:pt x="415" y="125"/>
                    <a:pt x="417" y="125"/>
                  </a:cubicBezTo>
                  <a:close/>
                  <a:moveTo>
                    <a:pt x="343" y="106"/>
                  </a:moveTo>
                  <a:cubicBezTo>
                    <a:pt x="343" y="106"/>
                    <a:pt x="347" y="110"/>
                    <a:pt x="356" y="110"/>
                  </a:cubicBezTo>
                  <a:cubicBezTo>
                    <a:pt x="366" y="110"/>
                    <a:pt x="370" y="112"/>
                    <a:pt x="372" y="115"/>
                  </a:cubicBezTo>
                  <a:cubicBezTo>
                    <a:pt x="372" y="134"/>
                    <a:pt x="362" y="147"/>
                    <a:pt x="355" y="147"/>
                  </a:cubicBezTo>
                  <a:cubicBezTo>
                    <a:pt x="353" y="147"/>
                    <a:pt x="352" y="146"/>
                    <a:pt x="353" y="145"/>
                  </a:cubicBezTo>
                  <a:cubicBezTo>
                    <a:pt x="353" y="142"/>
                    <a:pt x="353" y="138"/>
                    <a:pt x="351" y="135"/>
                  </a:cubicBezTo>
                  <a:cubicBezTo>
                    <a:pt x="348" y="131"/>
                    <a:pt x="346" y="128"/>
                    <a:pt x="339" y="125"/>
                  </a:cubicBezTo>
                  <a:cubicBezTo>
                    <a:pt x="338" y="124"/>
                    <a:pt x="335" y="123"/>
                    <a:pt x="335" y="119"/>
                  </a:cubicBezTo>
                  <a:cubicBezTo>
                    <a:pt x="335" y="112"/>
                    <a:pt x="343" y="106"/>
                    <a:pt x="343" y="106"/>
                  </a:cubicBezTo>
                  <a:close/>
                  <a:moveTo>
                    <a:pt x="435" y="213"/>
                  </a:moveTo>
                  <a:cubicBezTo>
                    <a:pt x="437" y="212"/>
                    <a:pt x="437" y="211"/>
                    <a:pt x="435" y="211"/>
                  </a:cubicBezTo>
                  <a:cubicBezTo>
                    <a:pt x="410" y="214"/>
                    <a:pt x="385" y="223"/>
                    <a:pt x="361" y="234"/>
                  </a:cubicBezTo>
                  <a:cubicBezTo>
                    <a:pt x="360" y="232"/>
                    <a:pt x="360" y="231"/>
                    <a:pt x="360" y="227"/>
                  </a:cubicBezTo>
                  <a:cubicBezTo>
                    <a:pt x="360" y="220"/>
                    <a:pt x="361" y="209"/>
                    <a:pt x="369" y="209"/>
                  </a:cubicBezTo>
                  <a:cubicBezTo>
                    <a:pt x="387" y="209"/>
                    <a:pt x="397" y="199"/>
                    <a:pt x="397" y="199"/>
                  </a:cubicBezTo>
                  <a:cubicBezTo>
                    <a:pt x="397" y="199"/>
                    <a:pt x="370" y="195"/>
                    <a:pt x="372" y="183"/>
                  </a:cubicBezTo>
                  <a:cubicBezTo>
                    <a:pt x="373" y="180"/>
                    <a:pt x="375" y="178"/>
                    <a:pt x="378" y="179"/>
                  </a:cubicBezTo>
                  <a:cubicBezTo>
                    <a:pt x="388" y="181"/>
                    <a:pt x="392" y="172"/>
                    <a:pt x="392" y="172"/>
                  </a:cubicBezTo>
                  <a:cubicBezTo>
                    <a:pt x="392" y="172"/>
                    <a:pt x="382" y="170"/>
                    <a:pt x="378" y="167"/>
                  </a:cubicBezTo>
                  <a:cubicBezTo>
                    <a:pt x="377" y="166"/>
                    <a:pt x="376" y="165"/>
                    <a:pt x="377" y="163"/>
                  </a:cubicBezTo>
                  <a:cubicBezTo>
                    <a:pt x="379" y="162"/>
                    <a:pt x="381" y="160"/>
                    <a:pt x="384" y="161"/>
                  </a:cubicBezTo>
                  <a:cubicBezTo>
                    <a:pt x="392" y="163"/>
                    <a:pt x="397" y="164"/>
                    <a:pt x="400" y="164"/>
                  </a:cubicBezTo>
                  <a:cubicBezTo>
                    <a:pt x="402" y="164"/>
                    <a:pt x="403" y="162"/>
                    <a:pt x="401" y="162"/>
                  </a:cubicBezTo>
                  <a:cubicBezTo>
                    <a:pt x="398" y="160"/>
                    <a:pt x="394" y="156"/>
                    <a:pt x="388" y="153"/>
                  </a:cubicBezTo>
                  <a:cubicBezTo>
                    <a:pt x="397" y="148"/>
                    <a:pt x="403" y="140"/>
                    <a:pt x="403" y="140"/>
                  </a:cubicBezTo>
                  <a:cubicBezTo>
                    <a:pt x="403" y="140"/>
                    <a:pt x="400" y="141"/>
                    <a:pt x="396" y="139"/>
                  </a:cubicBezTo>
                  <a:cubicBezTo>
                    <a:pt x="390" y="136"/>
                    <a:pt x="390" y="109"/>
                    <a:pt x="386" y="103"/>
                  </a:cubicBezTo>
                  <a:cubicBezTo>
                    <a:pt x="382" y="96"/>
                    <a:pt x="374" y="90"/>
                    <a:pt x="369" y="88"/>
                  </a:cubicBezTo>
                  <a:cubicBezTo>
                    <a:pt x="362" y="85"/>
                    <a:pt x="356" y="84"/>
                    <a:pt x="353" y="81"/>
                  </a:cubicBezTo>
                  <a:cubicBezTo>
                    <a:pt x="347" y="75"/>
                    <a:pt x="357" y="39"/>
                    <a:pt x="319" y="39"/>
                  </a:cubicBezTo>
                  <a:cubicBezTo>
                    <a:pt x="295" y="39"/>
                    <a:pt x="279" y="58"/>
                    <a:pt x="275" y="77"/>
                  </a:cubicBezTo>
                  <a:cubicBezTo>
                    <a:pt x="274" y="84"/>
                    <a:pt x="275" y="91"/>
                    <a:pt x="275" y="91"/>
                  </a:cubicBezTo>
                  <a:cubicBezTo>
                    <a:pt x="275" y="91"/>
                    <a:pt x="295" y="87"/>
                    <a:pt x="302" y="107"/>
                  </a:cubicBezTo>
                  <a:cubicBezTo>
                    <a:pt x="296" y="101"/>
                    <a:pt x="290" y="98"/>
                    <a:pt x="288" y="98"/>
                  </a:cubicBezTo>
                  <a:cubicBezTo>
                    <a:pt x="281" y="97"/>
                    <a:pt x="276" y="101"/>
                    <a:pt x="275" y="108"/>
                  </a:cubicBezTo>
                  <a:cubicBezTo>
                    <a:pt x="271" y="128"/>
                    <a:pt x="291" y="145"/>
                    <a:pt x="293" y="147"/>
                  </a:cubicBezTo>
                  <a:cubicBezTo>
                    <a:pt x="289" y="187"/>
                    <a:pt x="307" y="212"/>
                    <a:pt x="308" y="244"/>
                  </a:cubicBezTo>
                  <a:cubicBezTo>
                    <a:pt x="309" y="265"/>
                    <a:pt x="295" y="274"/>
                    <a:pt x="292" y="276"/>
                  </a:cubicBezTo>
                  <a:cubicBezTo>
                    <a:pt x="275" y="293"/>
                    <a:pt x="271" y="300"/>
                    <a:pt x="266" y="314"/>
                  </a:cubicBezTo>
                  <a:cubicBezTo>
                    <a:pt x="266" y="303"/>
                    <a:pt x="269" y="289"/>
                    <a:pt x="278" y="272"/>
                  </a:cubicBezTo>
                  <a:cubicBezTo>
                    <a:pt x="279" y="271"/>
                    <a:pt x="279" y="270"/>
                    <a:pt x="277" y="271"/>
                  </a:cubicBezTo>
                  <a:cubicBezTo>
                    <a:pt x="269" y="275"/>
                    <a:pt x="254" y="284"/>
                    <a:pt x="248" y="289"/>
                  </a:cubicBezTo>
                  <a:cubicBezTo>
                    <a:pt x="242" y="296"/>
                    <a:pt x="235" y="302"/>
                    <a:pt x="229" y="309"/>
                  </a:cubicBezTo>
                  <a:cubicBezTo>
                    <a:pt x="220" y="312"/>
                    <a:pt x="205" y="318"/>
                    <a:pt x="186" y="332"/>
                  </a:cubicBezTo>
                  <a:cubicBezTo>
                    <a:pt x="170" y="343"/>
                    <a:pt x="160" y="364"/>
                    <a:pt x="160" y="364"/>
                  </a:cubicBezTo>
                  <a:cubicBezTo>
                    <a:pt x="160" y="364"/>
                    <a:pt x="143" y="363"/>
                    <a:pt x="119" y="365"/>
                  </a:cubicBezTo>
                  <a:cubicBezTo>
                    <a:pt x="67" y="369"/>
                    <a:pt x="0" y="393"/>
                    <a:pt x="0" y="393"/>
                  </a:cubicBezTo>
                  <a:cubicBezTo>
                    <a:pt x="267" y="393"/>
                    <a:pt x="267" y="393"/>
                    <a:pt x="267" y="393"/>
                  </a:cubicBezTo>
                  <a:cubicBezTo>
                    <a:pt x="272" y="323"/>
                    <a:pt x="364" y="236"/>
                    <a:pt x="435" y="213"/>
                  </a:cubicBezTo>
                  <a:close/>
                  <a:moveTo>
                    <a:pt x="756" y="99"/>
                  </a:moveTo>
                  <a:cubicBezTo>
                    <a:pt x="764" y="95"/>
                    <a:pt x="775" y="94"/>
                    <a:pt x="786" y="88"/>
                  </a:cubicBezTo>
                  <a:cubicBezTo>
                    <a:pt x="793" y="85"/>
                    <a:pt x="795" y="84"/>
                    <a:pt x="805" y="78"/>
                  </a:cubicBezTo>
                  <a:cubicBezTo>
                    <a:pt x="806" y="77"/>
                    <a:pt x="806" y="76"/>
                    <a:pt x="804" y="76"/>
                  </a:cubicBezTo>
                  <a:cubicBezTo>
                    <a:pt x="799" y="76"/>
                    <a:pt x="791" y="74"/>
                    <a:pt x="791" y="68"/>
                  </a:cubicBezTo>
                  <a:cubicBezTo>
                    <a:pt x="790" y="62"/>
                    <a:pt x="792" y="55"/>
                    <a:pt x="797" y="49"/>
                  </a:cubicBezTo>
                  <a:cubicBezTo>
                    <a:pt x="800" y="46"/>
                    <a:pt x="807" y="40"/>
                    <a:pt x="807" y="34"/>
                  </a:cubicBezTo>
                  <a:cubicBezTo>
                    <a:pt x="807" y="23"/>
                    <a:pt x="802" y="22"/>
                    <a:pt x="797" y="22"/>
                  </a:cubicBezTo>
                  <a:cubicBezTo>
                    <a:pt x="797" y="32"/>
                    <a:pt x="787" y="41"/>
                    <a:pt x="783" y="45"/>
                  </a:cubicBezTo>
                  <a:cubicBezTo>
                    <a:pt x="771" y="60"/>
                    <a:pt x="759" y="65"/>
                    <a:pt x="758" y="80"/>
                  </a:cubicBezTo>
                  <a:cubicBezTo>
                    <a:pt x="758" y="85"/>
                    <a:pt x="755" y="94"/>
                    <a:pt x="754" y="98"/>
                  </a:cubicBezTo>
                  <a:cubicBezTo>
                    <a:pt x="754" y="100"/>
                    <a:pt x="755" y="100"/>
                    <a:pt x="756" y="99"/>
                  </a:cubicBezTo>
                  <a:close/>
                </a:path>
              </a:pathLst>
            </a:custGeom>
            <a:blipFill dpi="0"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99" name="Group 33"/>
            <p:cNvGrpSpPr/>
            <p:nvPr/>
          </p:nvGrpSpPr>
          <p:grpSpPr bwMode="black">
            <a:xfrm>
              <a:off x="1430338" y="-1666875"/>
              <a:ext cx="4968876" cy="7239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200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359999" y="360000"/>
            <a:ext cx="7298101" cy="1080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ts val="3000"/>
              </a:lnSpc>
              <a:spcBef>
                <a:spcPts val="0"/>
              </a:spcBef>
              <a:defRPr lang="en-GB" sz="30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360001" y="1476000"/>
            <a:ext cx="5004162" cy="648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14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cxnSp>
        <p:nvCxnSpPr>
          <p:cNvPr id="195" name="Straight Connector 194"/>
          <p:cNvCxnSpPr/>
          <p:nvPr userDrawn="1"/>
        </p:nvCxnSpPr>
        <p:spPr bwMode="black">
          <a:xfrm>
            <a:off x="0" y="2182691"/>
            <a:ext cx="9144000" cy="0"/>
          </a:xfrm>
          <a:prstGeom prst="line">
            <a:avLst/>
          </a:prstGeom>
          <a:ln w="6350">
            <a:solidFill>
              <a:srgbClr val="005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6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3" name="Group 42"/>
          <p:cNvGrpSpPr/>
          <p:nvPr userDrawn="1"/>
        </p:nvGrpSpPr>
        <p:grpSpPr>
          <a:xfrm>
            <a:off x="0" y="6398813"/>
            <a:ext cx="9144000" cy="459187"/>
            <a:chOff x="0" y="6398814"/>
            <a:chExt cx="9144000" cy="459186"/>
          </a:xfrm>
        </p:grpSpPr>
        <p:sp>
          <p:nvSpPr>
            <p:cNvPr id="44" name="Rectangle 43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45" name="Rectangle 44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0000" y="1600145"/>
            <a:ext cx="8424000" cy="4608569"/>
          </a:xfrm>
        </p:spPr>
        <p:txBody>
          <a:bodyPr/>
          <a:lstStyle>
            <a:lvl1pPr marL="180000" indent="-180000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1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4" name="Slide Number Placeholder 7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sp>
        <p:nvSpPr>
          <p:cNvPr id="75" name="Footer Placeholder 7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Business unit | Footer</a:t>
            </a:r>
            <a:endParaRPr lang="en-US" noProof="0" dirty="0"/>
          </a:p>
        </p:txBody>
      </p:sp>
      <p:sp>
        <p:nvSpPr>
          <p:cNvPr id="76" name="Title 75"/>
          <p:cNvSpPr>
            <a:spLocks noGrp="1"/>
          </p:cNvSpPr>
          <p:nvPr>
            <p:ph type="title"/>
          </p:nvPr>
        </p:nvSpPr>
        <p:spPr bwMode="gray"/>
        <p:txBody>
          <a:bodyPr wrap="square" lIns="0" tIns="0" rIns="0" bIns="0" rtlCol="0" anchor="b" anchorCtr="0">
            <a:noAutofit/>
          </a:bodyPr>
          <a:lstStyle>
            <a:lvl1pPr marL="541338" indent="-541338" algn="l" defTabSz="914400" rtl="0" eaLnBrk="1" latinLnBrk="0" hangingPunct="1">
              <a:lnSpc>
                <a:spcPts val="2500"/>
              </a:lnSpc>
              <a:spcBef>
                <a:spcPct val="0"/>
              </a:spcBef>
              <a:buFont typeface="+mj-lt"/>
              <a:buAutoNum type="arabicPeriod"/>
              <a:tabLst>
                <a:tab pos="541338" algn="l"/>
              </a:tabLst>
              <a:defRPr lang="en-US" sz="2500" b="1" kern="0" dirty="0" smtClean="0">
                <a:solidFill>
                  <a:schemeClr val="bg1"/>
                </a:solidFill>
                <a:latin typeface="Arial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29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30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3360984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lim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5"/>
            <a:ext cx="6372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6873777" y="1436401"/>
            <a:ext cx="2270225" cy="4966015"/>
          </a:xfr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m Imag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412000" y="1600145"/>
            <a:ext cx="6372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1" y="1436401"/>
            <a:ext cx="2270225" cy="4966015"/>
          </a:xfr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5"/>
            <a:ext cx="4140000" cy="460856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44000" y="1600145"/>
            <a:ext cx="4140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6"/>
            <a:ext cx="8424000" cy="223228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0000" y="3976430"/>
            <a:ext cx="8424000" cy="223228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360000" y="1600713"/>
            <a:ext cx="2718000" cy="4608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217916" y="1600713"/>
            <a:ext cx="271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6076750" y="1600713"/>
            <a:ext cx="271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60000" y="1600713"/>
            <a:ext cx="199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505583" y="1600713"/>
            <a:ext cx="199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22"/>
          </p:nvPr>
        </p:nvSpPr>
        <p:spPr>
          <a:xfrm>
            <a:off x="4651166" y="1600713"/>
            <a:ext cx="199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6796750" y="1600713"/>
            <a:ext cx="199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Mix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360000" y="1600713"/>
            <a:ext cx="4140000" cy="4608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25"/>
          </p:nvPr>
        </p:nvSpPr>
        <p:spPr>
          <a:xfrm>
            <a:off x="4651166" y="1600713"/>
            <a:ext cx="4140000" cy="4608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Mixed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360000" y="1600713"/>
            <a:ext cx="8424000" cy="223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25"/>
          </p:nvPr>
        </p:nvSpPr>
        <p:spPr>
          <a:xfrm>
            <a:off x="360000" y="3976713"/>
            <a:ext cx="8424000" cy="223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Mix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360000" y="1600713"/>
            <a:ext cx="2718000" cy="4608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25"/>
          </p:nvPr>
        </p:nvSpPr>
        <p:spPr>
          <a:xfrm>
            <a:off x="3213000" y="1600713"/>
            <a:ext cx="2718000" cy="4608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6"/>
          </p:nvPr>
        </p:nvSpPr>
        <p:spPr>
          <a:xfrm>
            <a:off x="6066000" y="1600713"/>
            <a:ext cx="2718000" cy="4608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Rectangle 193"/>
          <p:cNvSpPr/>
          <p:nvPr userDrawn="1"/>
        </p:nvSpPr>
        <p:spPr bwMode="white">
          <a:xfrm>
            <a:off x="0" y="1"/>
            <a:ext cx="9144000" cy="2820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" name="Group 195"/>
          <p:cNvGrpSpPr>
            <a:grpSpLocks noChangeAspect="1"/>
          </p:cNvGrpSpPr>
          <p:nvPr userDrawn="1"/>
        </p:nvGrpSpPr>
        <p:grpSpPr bwMode="black">
          <a:xfrm>
            <a:off x="5619753" y="1581491"/>
            <a:ext cx="3228853" cy="604800"/>
            <a:chOff x="1427163" y="-1920875"/>
            <a:chExt cx="7881938" cy="1476375"/>
          </a:xfrm>
        </p:grpSpPr>
        <p:sp>
          <p:nvSpPr>
            <p:cNvPr id="197" name="AutoShape 21"/>
            <p:cNvSpPr>
              <a:spLocks noChangeAspect="1" noChangeArrowheads="1" noTextEdit="1"/>
            </p:cNvSpPr>
            <p:nvPr/>
          </p:nvSpPr>
          <p:spPr bwMode="black">
            <a:xfrm>
              <a:off x="1427163" y="-1917700"/>
              <a:ext cx="7874000" cy="1473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23"/>
            <p:cNvSpPr>
              <a:spLocks noEditPoints="1"/>
            </p:cNvSpPr>
            <p:nvPr/>
          </p:nvSpPr>
          <p:spPr bwMode="black">
            <a:xfrm>
              <a:off x="5854701" y="-1920875"/>
              <a:ext cx="3454400" cy="1473200"/>
            </a:xfrm>
            <a:custGeom>
              <a:avLst/>
              <a:gdLst/>
              <a:ahLst/>
              <a:cxnLst>
                <a:cxn ang="0">
                  <a:pos x="898" y="12"/>
                </a:cxn>
                <a:cxn ang="0">
                  <a:pos x="882" y="34"/>
                </a:cxn>
                <a:cxn ang="0">
                  <a:pos x="865" y="65"/>
                </a:cxn>
                <a:cxn ang="0">
                  <a:pos x="872" y="23"/>
                </a:cxn>
                <a:cxn ang="0">
                  <a:pos x="869" y="1"/>
                </a:cxn>
                <a:cxn ang="0">
                  <a:pos x="857" y="38"/>
                </a:cxn>
                <a:cxn ang="0">
                  <a:pos x="848" y="76"/>
                </a:cxn>
                <a:cxn ang="0">
                  <a:pos x="845" y="17"/>
                </a:cxn>
                <a:cxn ang="0">
                  <a:pos x="833" y="31"/>
                </a:cxn>
                <a:cxn ang="0">
                  <a:pos x="834" y="63"/>
                </a:cxn>
                <a:cxn ang="0">
                  <a:pos x="832" y="59"/>
                </a:cxn>
                <a:cxn ang="0">
                  <a:pos x="818" y="33"/>
                </a:cxn>
                <a:cxn ang="0">
                  <a:pos x="819" y="69"/>
                </a:cxn>
                <a:cxn ang="0">
                  <a:pos x="798" y="105"/>
                </a:cxn>
                <a:cxn ang="0">
                  <a:pos x="750" y="107"/>
                </a:cxn>
                <a:cxn ang="0">
                  <a:pos x="633" y="184"/>
                </a:cxn>
                <a:cxn ang="0">
                  <a:pos x="496" y="256"/>
                </a:cxn>
                <a:cxn ang="0">
                  <a:pos x="536" y="219"/>
                </a:cxn>
                <a:cxn ang="0">
                  <a:pos x="322" y="389"/>
                </a:cxn>
                <a:cxn ang="0">
                  <a:pos x="423" y="393"/>
                </a:cxn>
                <a:cxn ang="0">
                  <a:pos x="418" y="346"/>
                </a:cxn>
                <a:cxn ang="0">
                  <a:pos x="645" y="268"/>
                </a:cxn>
                <a:cxn ang="0">
                  <a:pos x="766" y="146"/>
                </a:cxn>
                <a:cxn ang="0">
                  <a:pos x="830" y="108"/>
                </a:cxn>
                <a:cxn ang="0">
                  <a:pos x="853" y="91"/>
                </a:cxn>
                <a:cxn ang="0">
                  <a:pos x="884" y="56"/>
                </a:cxn>
                <a:cxn ang="0">
                  <a:pos x="915" y="9"/>
                </a:cxn>
                <a:cxn ang="0">
                  <a:pos x="417" y="125"/>
                </a:cxn>
                <a:cxn ang="0">
                  <a:pos x="425" y="117"/>
                </a:cxn>
                <a:cxn ang="0">
                  <a:pos x="401" y="109"/>
                </a:cxn>
                <a:cxn ang="0">
                  <a:pos x="417" y="125"/>
                </a:cxn>
                <a:cxn ang="0">
                  <a:pos x="356" y="110"/>
                </a:cxn>
                <a:cxn ang="0">
                  <a:pos x="355" y="147"/>
                </a:cxn>
                <a:cxn ang="0">
                  <a:pos x="351" y="135"/>
                </a:cxn>
                <a:cxn ang="0">
                  <a:pos x="335" y="119"/>
                </a:cxn>
                <a:cxn ang="0">
                  <a:pos x="435" y="213"/>
                </a:cxn>
                <a:cxn ang="0">
                  <a:pos x="361" y="234"/>
                </a:cxn>
                <a:cxn ang="0">
                  <a:pos x="369" y="209"/>
                </a:cxn>
                <a:cxn ang="0">
                  <a:pos x="372" y="183"/>
                </a:cxn>
                <a:cxn ang="0">
                  <a:pos x="392" y="172"/>
                </a:cxn>
                <a:cxn ang="0">
                  <a:pos x="377" y="163"/>
                </a:cxn>
                <a:cxn ang="0">
                  <a:pos x="400" y="164"/>
                </a:cxn>
                <a:cxn ang="0">
                  <a:pos x="388" y="153"/>
                </a:cxn>
                <a:cxn ang="0">
                  <a:pos x="396" y="139"/>
                </a:cxn>
                <a:cxn ang="0">
                  <a:pos x="369" y="88"/>
                </a:cxn>
                <a:cxn ang="0">
                  <a:pos x="319" y="39"/>
                </a:cxn>
                <a:cxn ang="0">
                  <a:pos x="275" y="91"/>
                </a:cxn>
                <a:cxn ang="0">
                  <a:pos x="288" y="98"/>
                </a:cxn>
                <a:cxn ang="0">
                  <a:pos x="293" y="147"/>
                </a:cxn>
                <a:cxn ang="0">
                  <a:pos x="292" y="276"/>
                </a:cxn>
                <a:cxn ang="0">
                  <a:pos x="278" y="272"/>
                </a:cxn>
                <a:cxn ang="0">
                  <a:pos x="248" y="289"/>
                </a:cxn>
                <a:cxn ang="0">
                  <a:pos x="186" y="332"/>
                </a:cxn>
                <a:cxn ang="0">
                  <a:pos x="119" y="365"/>
                </a:cxn>
                <a:cxn ang="0">
                  <a:pos x="267" y="393"/>
                </a:cxn>
                <a:cxn ang="0">
                  <a:pos x="756" y="99"/>
                </a:cxn>
                <a:cxn ang="0">
                  <a:pos x="805" y="78"/>
                </a:cxn>
                <a:cxn ang="0">
                  <a:pos x="791" y="68"/>
                </a:cxn>
                <a:cxn ang="0">
                  <a:pos x="807" y="34"/>
                </a:cxn>
                <a:cxn ang="0">
                  <a:pos x="783" y="45"/>
                </a:cxn>
                <a:cxn ang="0">
                  <a:pos x="754" y="98"/>
                </a:cxn>
              </a:cxnLst>
              <a:rect l="0" t="0" r="r" b="b"/>
              <a:pathLst>
                <a:path w="921" h="393">
                  <a:moveTo>
                    <a:pt x="910" y="2"/>
                  </a:moveTo>
                  <a:cubicBezTo>
                    <a:pt x="906" y="3"/>
                    <a:pt x="902" y="6"/>
                    <a:pt x="898" y="12"/>
                  </a:cubicBezTo>
                  <a:cubicBezTo>
                    <a:pt x="896" y="14"/>
                    <a:pt x="892" y="21"/>
                    <a:pt x="890" y="26"/>
                  </a:cubicBezTo>
                  <a:cubicBezTo>
                    <a:pt x="886" y="29"/>
                    <a:pt x="885" y="31"/>
                    <a:pt x="882" y="34"/>
                  </a:cubicBezTo>
                  <a:cubicBezTo>
                    <a:pt x="879" y="37"/>
                    <a:pt x="875" y="42"/>
                    <a:pt x="874" y="43"/>
                  </a:cubicBezTo>
                  <a:cubicBezTo>
                    <a:pt x="872" y="50"/>
                    <a:pt x="865" y="65"/>
                    <a:pt x="865" y="65"/>
                  </a:cubicBezTo>
                  <a:cubicBezTo>
                    <a:pt x="866" y="58"/>
                    <a:pt x="872" y="41"/>
                    <a:pt x="873" y="37"/>
                  </a:cubicBezTo>
                  <a:cubicBezTo>
                    <a:pt x="874" y="33"/>
                    <a:pt x="872" y="27"/>
                    <a:pt x="872" y="23"/>
                  </a:cubicBezTo>
                  <a:cubicBezTo>
                    <a:pt x="871" y="19"/>
                    <a:pt x="871" y="15"/>
                    <a:pt x="871" y="12"/>
                  </a:cubicBezTo>
                  <a:cubicBezTo>
                    <a:pt x="871" y="10"/>
                    <a:pt x="873" y="0"/>
                    <a:pt x="869" y="1"/>
                  </a:cubicBezTo>
                  <a:cubicBezTo>
                    <a:pt x="866" y="1"/>
                    <a:pt x="860" y="3"/>
                    <a:pt x="858" y="12"/>
                  </a:cubicBezTo>
                  <a:cubicBezTo>
                    <a:pt x="857" y="18"/>
                    <a:pt x="858" y="27"/>
                    <a:pt x="857" y="38"/>
                  </a:cubicBezTo>
                  <a:cubicBezTo>
                    <a:pt x="857" y="40"/>
                    <a:pt x="855" y="43"/>
                    <a:pt x="854" y="50"/>
                  </a:cubicBezTo>
                  <a:cubicBezTo>
                    <a:pt x="852" y="57"/>
                    <a:pt x="850" y="68"/>
                    <a:pt x="848" y="76"/>
                  </a:cubicBezTo>
                  <a:cubicBezTo>
                    <a:pt x="848" y="73"/>
                    <a:pt x="851" y="56"/>
                    <a:pt x="851" y="49"/>
                  </a:cubicBezTo>
                  <a:cubicBezTo>
                    <a:pt x="852" y="42"/>
                    <a:pt x="846" y="20"/>
                    <a:pt x="845" y="17"/>
                  </a:cubicBezTo>
                  <a:cubicBezTo>
                    <a:pt x="845" y="14"/>
                    <a:pt x="844" y="13"/>
                    <a:pt x="842" y="13"/>
                  </a:cubicBezTo>
                  <a:cubicBezTo>
                    <a:pt x="837" y="12"/>
                    <a:pt x="832" y="20"/>
                    <a:pt x="833" y="31"/>
                  </a:cubicBezTo>
                  <a:cubicBezTo>
                    <a:pt x="834" y="34"/>
                    <a:pt x="838" y="44"/>
                    <a:pt x="838" y="49"/>
                  </a:cubicBezTo>
                  <a:cubicBezTo>
                    <a:pt x="837" y="54"/>
                    <a:pt x="835" y="60"/>
                    <a:pt x="834" y="63"/>
                  </a:cubicBezTo>
                  <a:cubicBezTo>
                    <a:pt x="834" y="70"/>
                    <a:pt x="833" y="80"/>
                    <a:pt x="832" y="85"/>
                  </a:cubicBezTo>
                  <a:cubicBezTo>
                    <a:pt x="833" y="81"/>
                    <a:pt x="832" y="62"/>
                    <a:pt x="832" y="59"/>
                  </a:cubicBezTo>
                  <a:cubicBezTo>
                    <a:pt x="831" y="56"/>
                    <a:pt x="826" y="43"/>
                    <a:pt x="823" y="35"/>
                  </a:cubicBezTo>
                  <a:cubicBezTo>
                    <a:pt x="822" y="32"/>
                    <a:pt x="820" y="32"/>
                    <a:pt x="818" y="33"/>
                  </a:cubicBezTo>
                  <a:cubicBezTo>
                    <a:pt x="812" y="36"/>
                    <a:pt x="812" y="47"/>
                    <a:pt x="813" y="52"/>
                  </a:cubicBezTo>
                  <a:cubicBezTo>
                    <a:pt x="814" y="54"/>
                    <a:pt x="817" y="62"/>
                    <a:pt x="819" y="69"/>
                  </a:cubicBezTo>
                  <a:cubicBezTo>
                    <a:pt x="815" y="100"/>
                    <a:pt x="808" y="102"/>
                    <a:pt x="808" y="102"/>
                  </a:cubicBezTo>
                  <a:cubicBezTo>
                    <a:pt x="808" y="102"/>
                    <a:pt x="806" y="104"/>
                    <a:pt x="798" y="105"/>
                  </a:cubicBezTo>
                  <a:cubicBezTo>
                    <a:pt x="784" y="108"/>
                    <a:pt x="759" y="114"/>
                    <a:pt x="752" y="107"/>
                  </a:cubicBezTo>
                  <a:cubicBezTo>
                    <a:pt x="752" y="107"/>
                    <a:pt x="751" y="106"/>
                    <a:pt x="750" y="107"/>
                  </a:cubicBezTo>
                  <a:cubicBezTo>
                    <a:pt x="748" y="108"/>
                    <a:pt x="730" y="124"/>
                    <a:pt x="719" y="132"/>
                  </a:cubicBezTo>
                  <a:cubicBezTo>
                    <a:pt x="684" y="158"/>
                    <a:pt x="661" y="165"/>
                    <a:pt x="633" y="184"/>
                  </a:cubicBezTo>
                  <a:cubicBezTo>
                    <a:pt x="602" y="234"/>
                    <a:pt x="572" y="250"/>
                    <a:pt x="533" y="261"/>
                  </a:cubicBezTo>
                  <a:cubicBezTo>
                    <a:pt x="516" y="266"/>
                    <a:pt x="500" y="265"/>
                    <a:pt x="496" y="256"/>
                  </a:cubicBezTo>
                  <a:cubicBezTo>
                    <a:pt x="489" y="235"/>
                    <a:pt x="517" y="224"/>
                    <a:pt x="536" y="221"/>
                  </a:cubicBezTo>
                  <a:cubicBezTo>
                    <a:pt x="537" y="221"/>
                    <a:pt x="537" y="219"/>
                    <a:pt x="536" y="219"/>
                  </a:cubicBezTo>
                  <a:cubicBezTo>
                    <a:pt x="527" y="214"/>
                    <a:pt x="516" y="211"/>
                    <a:pt x="503" y="211"/>
                  </a:cubicBezTo>
                  <a:cubicBezTo>
                    <a:pt x="405" y="209"/>
                    <a:pt x="313" y="326"/>
                    <a:pt x="322" y="389"/>
                  </a:cubicBezTo>
                  <a:cubicBezTo>
                    <a:pt x="322" y="390"/>
                    <a:pt x="322" y="392"/>
                    <a:pt x="322" y="393"/>
                  </a:cubicBezTo>
                  <a:cubicBezTo>
                    <a:pt x="423" y="393"/>
                    <a:pt x="423" y="393"/>
                    <a:pt x="423" y="393"/>
                  </a:cubicBezTo>
                  <a:cubicBezTo>
                    <a:pt x="437" y="380"/>
                    <a:pt x="452" y="363"/>
                    <a:pt x="467" y="342"/>
                  </a:cubicBezTo>
                  <a:cubicBezTo>
                    <a:pt x="467" y="342"/>
                    <a:pt x="440" y="347"/>
                    <a:pt x="418" y="346"/>
                  </a:cubicBezTo>
                  <a:cubicBezTo>
                    <a:pt x="418" y="346"/>
                    <a:pt x="448" y="340"/>
                    <a:pt x="491" y="311"/>
                  </a:cubicBezTo>
                  <a:cubicBezTo>
                    <a:pt x="562" y="329"/>
                    <a:pt x="626" y="237"/>
                    <a:pt x="645" y="268"/>
                  </a:cubicBezTo>
                  <a:cubicBezTo>
                    <a:pt x="645" y="269"/>
                    <a:pt x="647" y="268"/>
                    <a:pt x="647" y="268"/>
                  </a:cubicBezTo>
                  <a:cubicBezTo>
                    <a:pt x="704" y="229"/>
                    <a:pt x="726" y="180"/>
                    <a:pt x="766" y="146"/>
                  </a:cubicBezTo>
                  <a:cubicBezTo>
                    <a:pt x="784" y="131"/>
                    <a:pt x="787" y="125"/>
                    <a:pt x="818" y="117"/>
                  </a:cubicBezTo>
                  <a:cubicBezTo>
                    <a:pt x="827" y="114"/>
                    <a:pt x="827" y="111"/>
                    <a:pt x="830" y="108"/>
                  </a:cubicBezTo>
                  <a:cubicBezTo>
                    <a:pt x="834" y="103"/>
                    <a:pt x="840" y="107"/>
                    <a:pt x="844" y="100"/>
                  </a:cubicBezTo>
                  <a:cubicBezTo>
                    <a:pt x="846" y="97"/>
                    <a:pt x="844" y="92"/>
                    <a:pt x="853" y="91"/>
                  </a:cubicBezTo>
                  <a:cubicBezTo>
                    <a:pt x="861" y="89"/>
                    <a:pt x="862" y="81"/>
                    <a:pt x="866" y="77"/>
                  </a:cubicBezTo>
                  <a:cubicBezTo>
                    <a:pt x="876" y="65"/>
                    <a:pt x="875" y="66"/>
                    <a:pt x="884" y="56"/>
                  </a:cubicBezTo>
                  <a:cubicBezTo>
                    <a:pt x="888" y="52"/>
                    <a:pt x="901" y="35"/>
                    <a:pt x="903" y="33"/>
                  </a:cubicBezTo>
                  <a:cubicBezTo>
                    <a:pt x="905" y="29"/>
                    <a:pt x="909" y="16"/>
                    <a:pt x="915" y="9"/>
                  </a:cubicBezTo>
                  <a:cubicBezTo>
                    <a:pt x="921" y="3"/>
                    <a:pt x="916" y="0"/>
                    <a:pt x="910" y="2"/>
                  </a:cubicBezTo>
                  <a:close/>
                  <a:moveTo>
                    <a:pt x="417" y="125"/>
                  </a:moveTo>
                  <a:cubicBezTo>
                    <a:pt x="418" y="125"/>
                    <a:pt x="419" y="125"/>
                    <a:pt x="420" y="124"/>
                  </a:cubicBezTo>
                  <a:cubicBezTo>
                    <a:pt x="422" y="122"/>
                    <a:pt x="425" y="119"/>
                    <a:pt x="425" y="117"/>
                  </a:cubicBezTo>
                  <a:cubicBezTo>
                    <a:pt x="425" y="113"/>
                    <a:pt x="419" y="107"/>
                    <a:pt x="409" y="107"/>
                  </a:cubicBezTo>
                  <a:cubicBezTo>
                    <a:pt x="405" y="106"/>
                    <a:pt x="404" y="107"/>
                    <a:pt x="401" y="109"/>
                  </a:cubicBezTo>
                  <a:cubicBezTo>
                    <a:pt x="398" y="113"/>
                    <a:pt x="401" y="121"/>
                    <a:pt x="402" y="123"/>
                  </a:cubicBezTo>
                  <a:cubicBezTo>
                    <a:pt x="410" y="123"/>
                    <a:pt x="415" y="125"/>
                    <a:pt x="417" y="125"/>
                  </a:cubicBezTo>
                  <a:close/>
                  <a:moveTo>
                    <a:pt x="343" y="106"/>
                  </a:moveTo>
                  <a:cubicBezTo>
                    <a:pt x="343" y="106"/>
                    <a:pt x="347" y="110"/>
                    <a:pt x="356" y="110"/>
                  </a:cubicBezTo>
                  <a:cubicBezTo>
                    <a:pt x="366" y="110"/>
                    <a:pt x="370" y="112"/>
                    <a:pt x="372" y="115"/>
                  </a:cubicBezTo>
                  <a:cubicBezTo>
                    <a:pt x="372" y="134"/>
                    <a:pt x="362" y="147"/>
                    <a:pt x="355" y="147"/>
                  </a:cubicBezTo>
                  <a:cubicBezTo>
                    <a:pt x="353" y="147"/>
                    <a:pt x="352" y="146"/>
                    <a:pt x="353" y="145"/>
                  </a:cubicBezTo>
                  <a:cubicBezTo>
                    <a:pt x="353" y="142"/>
                    <a:pt x="353" y="138"/>
                    <a:pt x="351" y="135"/>
                  </a:cubicBezTo>
                  <a:cubicBezTo>
                    <a:pt x="348" y="131"/>
                    <a:pt x="346" y="128"/>
                    <a:pt x="339" y="125"/>
                  </a:cubicBezTo>
                  <a:cubicBezTo>
                    <a:pt x="338" y="124"/>
                    <a:pt x="335" y="123"/>
                    <a:pt x="335" y="119"/>
                  </a:cubicBezTo>
                  <a:cubicBezTo>
                    <a:pt x="335" y="112"/>
                    <a:pt x="343" y="106"/>
                    <a:pt x="343" y="106"/>
                  </a:cubicBezTo>
                  <a:close/>
                  <a:moveTo>
                    <a:pt x="435" y="213"/>
                  </a:moveTo>
                  <a:cubicBezTo>
                    <a:pt x="437" y="212"/>
                    <a:pt x="437" y="211"/>
                    <a:pt x="435" y="211"/>
                  </a:cubicBezTo>
                  <a:cubicBezTo>
                    <a:pt x="410" y="214"/>
                    <a:pt x="385" y="223"/>
                    <a:pt x="361" y="234"/>
                  </a:cubicBezTo>
                  <a:cubicBezTo>
                    <a:pt x="360" y="232"/>
                    <a:pt x="360" y="231"/>
                    <a:pt x="360" y="227"/>
                  </a:cubicBezTo>
                  <a:cubicBezTo>
                    <a:pt x="360" y="220"/>
                    <a:pt x="361" y="209"/>
                    <a:pt x="369" y="209"/>
                  </a:cubicBezTo>
                  <a:cubicBezTo>
                    <a:pt x="387" y="209"/>
                    <a:pt x="397" y="199"/>
                    <a:pt x="397" y="199"/>
                  </a:cubicBezTo>
                  <a:cubicBezTo>
                    <a:pt x="397" y="199"/>
                    <a:pt x="370" y="195"/>
                    <a:pt x="372" y="183"/>
                  </a:cubicBezTo>
                  <a:cubicBezTo>
                    <a:pt x="373" y="180"/>
                    <a:pt x="375" y="178"/>
                    <a:pt x="378" y="179"/>
                  </a:cubicBezTo>
                  <a:cubicBezTo>
                    <a:pt x="388" y="181"/>
                    <a:pt x="392" y="172"/>
                    <a:pt x="392" y="172"/>
                  </a:cubicBezTo>
                  <a:cubicBezTo>
                    <a:pt x="392" y="172"/>
                    <a:pt x="382" y="170"/>
                    <a:pt x="378" y="167"/>
                  </a:cubicBezTo>
                  <a:cubicBezTo>
                    <a:pt x="377" y="166"/>
                    <a:pt x="376" y="165"/>
                    <a:pt x="377" y="163"/>
                  </a:cubicBezTo>
                  <a:cubicBezTo>
                    <a:pt x="379" y="162"/>
                    <a:pt x="381" y="160"/>
                    <a:pt x="384" y="161"/>
                  </a:cubicBezTo>
                  <a:cubicBezTo>
                    <a:pt x="392" y="163"/>
                    <a:pt x="397" y="164"/>
                    <a:pt x="400" y="164"/>
                  </a:cubicBezTo>
                  <a:cubicBezTo>
                    <a:pt x="402" y="164"/>
                    <a:pt x="403" y="162"/>
                    <a:pt x="401" y="162"/>
                  </a:cubicBezTo>
                  <a:cubicBezTo>
                    <a:pt x="398" y="160"/>
                    <a:pt x="394" y="156"/>
                    <a:pt x="388" y="153"/>
                  </a:cubicBezTo>
                  <a:cubicBezTo>
                    <a:pt x="397" y="148"/>
                    <a:pt x="403" y="140"/>
                    <a:pt x="403" y="140"/>
                  </a:cubicBezTo>
                  <a:cubicBezTo>
                    <a:pt x="403" y="140"/>
                    <a:pt x="400" y="141"/>
                    <a:pt x="396" y="139"/>
                  </a:cubicBezTo>
                  <a:cubicBezTo>
                    <a:pt x="390" y="136"/>
                    <a:pt x="390" y="109"/>
                    <a:pt x="386" y="103"/>
                  </a:cubicBezTo>
                  <a:cubicBezTo>
                    <a:pt x="382" y="96"/>
                    <a:pt x="374" y="90"/>
                    <a:pt x="369" y="88"/>
                  </a:cubicBezTo>
                  <a:cubicBezTo>
                    <a:pt x="362" y="85"/>
                    <a:pt x="356" y="84"/>
                    <a:pt x="353" y="81"/>
                  </a:cubicBezTo>
                  <a:cubicBezTo>
                    <a:pt x="347" y="75"/>
                    <a:pt x="357" y="39"/>
                    <a:pt x="319" y="39"/>
                  </a:cubicBezTo>
                  <a:cubicBezTo>
                    <a:pt x="295" y="39"/>
                    <a:pt x="279" y="58"/>
                    <a:pt x="275" y="77"/>
                  </a:cubicBezTo>
                  <a:cubicBezTo>
                    <a:pt x="274" y="84"/>
                    <a:pt x="275" y="91"/>
                    <a:pt x="275" y="91"/>
                  </a:cubicBezTo>
                  <a:cubicBezTo>
                    <a:pt x="275" y="91"/>
                    <a:pt x="295" y="87"/>
                    <a:pt x="302" y="107"/>
                  </a:cubicBezTo>
                  <a:cubicBezTo>
                    <a:pt x="296" y="101"/>
                    <a:pt x="290" y="98"/>
                    <a:pt x="288" y="98"/>
                  </a:cubicBezTo>
                  <a:cubicBezTo>
                    <a:pt x="281" y="97"/>
                    <a:pt x="276" y="101"/>
                    <a:pt x="275" y="108"/>
                  </a:cubicBezTo>
                  <a:cubicBezTo>
                    <a:pt x="271" y="128"/>
                    <a:pt x="291" y="145"/>
                    <a:pt x="293" y="147"/>
                  </a:cubicBezTo>
                  <a:cubicBezTo>
                    <a:pt x="289" y="187"/>
                    <a:pt x="307" y="212"/>
                    <a:pt x="308" y="244"/>
                  </a:cubicBezTo>
                  <a:cubicBezTo>
                    <a:pt x="309" y="265"/>
                    <a:pt x="295" y="274"/>
                    <a:pt x="292" y="276"/>
                  </a:cubicBezTo>
                  <a:cubicBezTo>
                    <a:pt x="275" y="293"/>
                    <a:pt x="271" y="300"/>
                    <a:pt x="266" y="314"/>
                  </a:cubicBezTo>
                  <a:cubicBezTo>
                    <a:pt x="266" y="303"/>
                    <a:pt x="269" y="289"/>
                    <a:pt x="278" y="272"/>
                  </a:cubicBezTo>
                  <a:cubicBezTo>
                    <a:pt x="279" y="271"/>
                    <a:pt x="279" y="270"/>
                    <a:pt x="277" y="271"/>
                  </a:cubicBezTo>
                  <a:cubicBezTo>
                    <a:pt x="269" y="275"/>
                    <a:pt x="254" y="284"/>
                    <a:pt x="248" y="289"/>
                  </a:cubicBezTo>
                  <a:cubicBezTo>
                    <a:pt x="242" y="296"/>
                    <a:pt x="235" y="302"/>
                    <a:pt x="229" y="309"/>
                  </a:cubicBezTo>
                  <a:cubicBezTo>
                    <a:pt x="220" y="312"/>
                    <a:pt x="205" y="318"/>
                    <a:pt x="186" y="332"/>
                  </a:cubicBezTo>
                  <a:cubicBezTo>
                    <a:pt x="170" y="343"/>
                    <a:pt x="160" y="364"/>
                    <a:pt x="160" y="364"/>
                  </a:cubicBezTo>
                  <a:cubicBezTo>
                    <a:pt x="160" y="364"/>
                    <a:pt x="143" y="363"/>
                    <a:pt x="119" y="365"/>
                  </a:cubicBezTo>
                  <a:cubicBezTo>
                    <a:pt x="67" y="369"/>
                    <a:pt x="0" y="393"/>
                    <a:pt x="0" y="393"/>
                  </a:cubicBezTo>
                  <a:cubicBezTo>
                    <a:pt x="267" y="393"/>
                    <a:pt x="267" y="393"/>
                    <a:pt x="267" y="393"/>
                  </a:cubicBezTo>
                  <a:cubicBezTo>
                    <a:pt x="272" y="323"/>
                    <a:pt x="364" y="236"/>
                    <a:pt x="435" y="213"/>
                  </a:cubicBezTo>
                  <a:close/>
                  <a:moveTo>
                    <a:pt x="756" y="99"/>
                  </a:moveTo>
                  <a:cubicBezTo>
                    <a:pt x="764" y="95"/>
                    <a:pt x="775" y="94"/>
                    <a:pt x="786" y="88"/>
                  </a:cubicBezTo>
                  <a:cubicBezTo>
                    <a:pt x="793" y="85"/>
                    <a:pt x="795" y="84"/>
                    <a:pt x="805" y="78"/>
                  </a:cubicBezTo>
                  <a:cubicBezTo>
                    <a:pt x="806" y="77"/>
                    <a:pt x="806" y="76"/>
                    <a:pt x="804" y="76"/>
                  </a:cubicBezTo>
                  <a:cubicBezTo>
                    <a:pt x="799" y="76"/>
                    <a:pt x="791" y="74"/>
                    <a:pt x="791" y="68"/>
                  </a:cubicBezTo>
                  <a:cubicBezTo>
                    <a:pt x="790" y="62"/>
                    <a:pt x="792" y="55"/>
                    <a:pt x="797" y="49"/>
                  </a:cubicBezTo>
                  <a:cubicBezTo>
                    <a:pt x="800" y="46"/>
                    <a:pt x="807" y="40"/>
                    <a:pt x="807" y="34"/>
                  </a:cubicBezTo>
                  <a:cubicBezTo>
                    <a:pt x="807" y="23"/>
                    <a:pt x="802" y="22"/>
                    <a:pt x="797" y="22"/>
                  </a:cubicBezTo>
                  <a:cubicBezTo>
                    <a:pt x="797" y="32"/>
                    <a:pt x="787" y="41"/>
                    <a:pt x="783" y="45"/>
                  </a:cubicBezTo>
                  <a:cubicBezTo>
                    <a:pt x="771" y="60"/>
                    <a:pt x="759" y="65"/>
                    <a:pt x="758" y="80"/>
                  </a:cubicBezTo>
                  <a:cubicBezTo>
                    <a:pt x="758" y="85"/>
                    <a:pt x="755" y="94"/>
                    <a:pt x="754" y="98"/>
                  </a:cubicBezTo>
                  <a:cubicBezTo>
                    <a:pt x="754" y="100"/>
                    <a:pt x="755" y="100"/>
                    <a:pt x="756" y="99"/>
                  </a:cubicBezTo>
                  <a:close/>
                </a:path>
              </a:pathLst>
            </a:custGeom>
            <a:blipFill dpi="0"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" name="Group 33"/>
            <p:cNvGrpSpPr/>
            <p:nvPr/>
          </p:nvGrpSpPr>
          <p:grpSpPr bwMode="black">
            <a:xfrm>
              <a:off x="1430338" y="-1666875"/>
              <a:ext cx="4968876" cy="7239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200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359999" y="360000"/>
            <a:ext cx="7298101" cy="1080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ts val="3000"/>
              </a:lnSpc>
              <a:spcBef>
                <a:spcPts val="0"/>
              </a:spcBef>
              <a:defRPr lang="en-GB" sz="30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360001" y="1476000"/>
            <a:ext cx="5004162" cy="648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14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cxnSp>
        <p:nvCxnSpPr>
          <p:cNvPr id="195" name="Straight Connector 194"/>
          <p:cNvCxnSpPr/>
          <p:nvPr userDrawn="1"/>
        </p:nvCxnSpPr>
        <p:spPr bwMode="black">
          <a:xfrm>
            <a:off x="0" y="2182691"/>
            <a:ext cx="9144000" cy="0"/>
          </a:xfrm>
          <a:prstGeom prst="line">
            <a:avLst/>
          </a:prstGeom>
          <a:ln w="6350">
            <a:solidFill>
              <a:srgbClr val="005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Picture Placeholder 20"/>
          <p:cNvSpPr>
            <a:spLocks noGrp="1"/>
          </p:cNvSpPr>
          <p:nvPr>
            <p:ph type="pic" sz="quarter" idx="10"/>
          </p:nvPr>
        </p:nvSpPr>
        <p:spPr>
          <a:xfrm>
            <a:off x="0" y="2820477"/>
            <a:ext cx="9144000" cy="403752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Mixed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360000" y="1600713"/>
            <a:ext cx="8424000" cy="1494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25"/>
          </p:nvPr>
        </p:nvSpPr>
        <p:spPr>
          <a:xfrm>
            <a:off x="360000" y="3162603"/>
            <a:ext cx="8424000" cy="1494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6"/>
          </p:nvPr>
        </p:nvSpPr>
        <p:spPr>
          <a:xfrm>
            <a:off x="360000" y="4724491"/>
            <a:ext cx="8424000" cy="1494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0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/>
          <p:cNvGrpSpPr/>
          <p:nvPr userDrawn="1"/>
        </p:nvGrpSpPr>
        <p:grpSpPr>
          <a:xfrm>
            <a:off x="0" y="6398813"/>
            <a:ext cx="9144000" cy="459187"/>
            <a:chOff x="0" y="6398814"/>
            <a:chExt cx="9144000" cy="459186"/>
          </a:xfrm>
        </p:grpSpPr>
        <p:sp>
          <p:nvSpPr>
            <p:cNvPr id="11" name="Rectangle 10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" name="Rectangle 12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0" y="1436400"/>
            <a:ext cx="9144000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with AkzoNobel logo whi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4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oup 26"/>
          <p:cNvGrpSpPr/>
          <p:nvPr userDrawn="1"/>
        </p:nvGrpSpPr>
        <p:grpSpPr>
          <a:xfrm>
            <a:off x="0" y="6398813"/>
            <a:ext cx="9144000" cy="459187"/>
            <a:chOff x="0" y="6398814"/>
            <a:chExt cx="9144000" cy="459186"/>
          </a:xfrm>
        </p:grpSpPr>
        <p:sp>
          <p:nvSpPr>
            <p:cNvPr id="30" name="Rectangle 29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31" name="Rectangle 30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7015590" y="372869"/>
            <a:ext cx="1779160" cy="259200"/>
            <a:chOff x="7015590" y="372869"/>
            <a:chExt cx="1779160" cy="259200"/>
          </a:xfrm>
        </p:grpSpPr>
        <p:sp>
          <p:nvSpPr>
            <p:cNvPr id="33" name="Rectangle 32"/>
            <p:cNvSpPr/>
            <p:nvPr userDrawn="1"/>
          </p:nvSpPr>
          <p:spPr>
            <a:xfrm>
              <a:off x="7015590" y="372869"/>
              <a:ext cx="1779160" cy="2552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 smtClean="0"/>
            </a:p>
          </p:txBody>
        </p:sp>
        <p:grpSp>
          <p:nvGrpSpPr>
            <p:cNvPr id="3" name="Group 33"/>
            <p:cNvGrpSpPr>
              <a:grpSpLocks noChangeAspect="1"/>
            </p:cNvGrpSpPr>
            <p:nvPr userDrawn="1"/>
          </p:nvGrpSpPr>
          <p:grpSpPr bwMode="black">
            <a:xfrm>
              <a:off x="7015590" y="372869"/>
              <a:ext cx="1779160" cy="259200"/>
              <a:chOff x="1430338" y="-1666875"/>
              <a:chExt cx="4968876" cy="723900"/>
            </a:xfrm>
            <a:solidFill>
              <a:schemeClr val="bg1"/>
            </a:solidFill>
          </p:grpSpPr>
          <p:sp>
            <p:nvSpPr>
              <p:cNvPr id="35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8" name="Rectangle 27"/>
          <p:cNvSpPr/>
          <p:nvPr userDrawn="1"/>
        </p:nvSpPr>
        <p:spPr>
          <a:xfrm>
            <a:off x="9288780" y="182685"/>
            <a:ext cx="1501140" cy="1187607"/>
          </a:xfrm>
          <a:prstGeom prst="rect">
            <a:avLst/>
          </a:prstGeom>
          <a:solidFill>
            <a:srgbClr val="B9C9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 dirty="0" smtClean="0">
                <a:solidFill>
                  <a:schemeClr val="tx1"/>
                </a:solidFill>
              </a:rPr>
              <a:t>Insert image via</a:t>
            </a:r>
          </a:p>
          <a:p>
            <a:pPr algn="l"/>
            <a:r>
              <a:rPr lang="en-US" sz="900" b="0" dirty="0" smtClean="0">
                <a:solidFill>
                  <a:schemeClr val="tx1"/>
                </a:solidFill>
              </a:rPr>
              <a:t>Format Background &gt; Picture</a:t>
            </a:r>
            <a:r>
              <a:rPr lang="en-US" sz="900" b="0" baseline="0" dirty="0" smtClean="0">
                <a:solidFill>
                  <a:schemeClr val="tx1"/>
                </a:solidFill>
              </a:rPr>
              <a:t> or texture fill &gt;</a:t>
            </a:r>
          </a:p>
          <a:p>
            <a:pPr algn="l"/>
            <a:r>
              <a:rPr lang="en-US" sz="900" b="0" i="0" baseline="0" dirty="0" smtClean="0">
                <a:solidFill>
                  <a:schemeClr val="tx1"/>
                </a:solidFill>
              </a:rPr>
              <a:t>Click “File” to browse to </a:t>
            </a:r>
            <a:r>
              <a:rPr lang="en-US" sz="900" b="0" baseline="0" dirty="0" smtClean="0">
                <a:solidFill>
                  <a:schemeClr val="tx1"/>
                </a:solidFill>
              </a:rPr>
              <a:t>your image</a:t>
            </a:r>
          </a:p>
          <a:p>
            <a:pPr algn="l"/>
            <a:r>
              <a:rPr lang="en-US" sz="900" b="0" baseline="0" dirty="0" smtClean="0">
                <a:solidFill>
                  <a:schemeClr val="tx1"/>
                </a:solidFill>
              </a:rPr>
              <a:t>Make sure </a:t>
            </a:r>
            <a:r>
              <a:rPr lang="en-US" sz="900" b="0" i="1" baseline="0" dirty="0" smtClean="0">
                <a:solidFill>
                  <a:schemeClr val="tx1"/>
                </a:solidFill>
              </a:rPr>
              <a:t>“Tile picture as texture”</a:t>
            </a:r>
            <a:r>
              <a:rPr lang="en-US" sz="900" b="0" baseline="0" dirty="0" smtClean="0">
                <a:solidFill>
                  <a:schemeClr val="tx1"/>
                </a:solidFill>
              </a:rPr>
              <a:t>  is ticked</a:t>
            </a:r>
            <a:endParaRPr lang="en-US" sz="900" b="0" dirty="0" smtClean="0">
              <a:solidFill>
                <a:schemeClr val="tx1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with AkzoNobel logo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8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oup 27"/>
          <p:cNvGrpSpPr/>
          <p:nvPr userDrawn="1"/>
        </p:nvGrpSpPr>
        <p:grpSpPr>
          <a:xfrm>
            <a:off x="0" y="6398813"/>
            <a:ext cx="9144000" cy="459187"/>
            <a:chOff x="0" y="6398814"/>
            <a:chExt cx="9144000" cy="459186"/>
          </a:xfrm>
        </p:grpSpPr>
        <p:sp>
          <p:nvSpPr>
            <p:cNvPr id="29" name="Rectangle 28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30" name="Rectangle 29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grpSp>
        <p:nvGrpSpPr>
          <p:cNvPr id="59" name="Group 58"/>
          <p:cNvGrpSpPr/>
          <p:nvPr userDrawn="1"/>
        </p:nvGrpSpPr>
        <p:grpSpPr>
          <a:xfrm>
            <a:off x="7015590" y="372869"/>
            <a:ext cx="1779160" cy="259200"/>
            <a:chOff x="7015590" y="372869"/>
            <a:chExt cx="1779160" cy="259200"/>
          </a:xfrm>
        </p:grpSpPr>
        <p:sp>
          <p:nvSpPr>
            <p:cNvPr id="33" name="Rectangle 32"/>
            <p:cNvSpPr/>
            <p:nvPr userDrawn="1"/>
          </p:nvSpPr>
          <p:spPr>
            <a:xfrm>
              <a:off x="7015590" y="372869"/>
              <a:ext cx="1779160" cy="2552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 smtClean="0"/>
            </a:p>
          </p:txBody>
        </p:sp>
        <p:grpSp>
          <p:nvGrpSpPr>
            <p:cNvPr id="34" name="Group 33"/>
            <p:cNvGrpSpPr>
              <a:grpSpLocks noChangeAspect="1"/>
            </p:cNvGrpSpPr>
            <p:nvPr userDrawn="1"/>
          </p:nvGrpSpPr>
          <p:grpSpPr bwMode="black">
            <a:xfrm>
              <a:off x="7015590" y="372869"/>
              <a:ext cx="1779160" cy="2592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35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Rectangle 25"/>
          <p:cNvSpPr/>
          <p:nvPr userDrawn="1"/>
        </p:nvSpPr>
        <p:spPr>
          <a:xfrm>
            <a:off x="9288780" y="182685"/>
            <a:ext cx="1501140" cy="1187607"/>
          </a:xfrm>
          <a:prstGeom prst="rect">
            <a:avLst/>
          </a:prstGeom>
          <a:solidFill>
            <a:srgbClr val="B9C9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 dirty="0" smtClean="0">
                <a:solidFill>
                  <a:schemeClr val="tx1"/>
                </a:solidFill>
              </a:rPr>
              <a:t>Insert image via</a:t>
            </a:r>
          </a:p>
          <a:p>
            <a:pPr algn="l"/>
            <a:r>
              <a:rPr lang="en-US" sz="900" b="0" dirty="0" smtClean="0">
                <a:solidFill>
                  <a:schemeClr val="tx1"/>
                </a:solidFill>
              </a:rPr>
              <a:t>Format Background &gt; Picture</a:t>
            </a:r>
            <a:r>
              <a:rPr lang="en-US" sz="900" b="0" baseline="0" dirty="0" smtClean="0">
                <a:solidFill>
                  <a:schemeClr val="tx1"/>
                </a:solidFill>
              </a:rPr>
              <a:t> or texture fill &gt;</a:t>
            </a:r>
          </a:p>
          <a:p>
            <a:pPr algn="l"/>
            <a:r>
              <a:rPr lang="en-US" sz="900" b="0" i="0" baseline="0" dirty="0" smtClean="0">
                <a:solidFill>
                  <a:schemeClr val="tx1"/>
                </a:solidFill>
              </a:rPr>
              <a:t>Click “File” to browse to </a:t>
            </a:r>
            <a:r>
              <a:rPr lang="en-US" sz="900" b="0" baseline="0" dirty="0" smtClean="0">
                <a:solidFill>
                  <a:schemeClr val="tx1"/>
                </a:solidFill>
              </a:rPr>
              <a:t>your image</a:t>
            </a:r>
          </a:p>
          <a:p>
            <a:pPr algn="l"/>
            <a:r>
              <a:rPr lang="en-US" sz="900" b="0" baseline="0" dirty="0" smtClean="0">
                <a:solidFill>
                  <a:schemeClr val="tx1"/>
                </a:solidFill>
              </a:rPr>
              <a:t>Make sure </a:t>
            </a:r>
            <a:r>
              <a:rPr lang="en-US" sz="900" b="0" i="1" baseline="0" dirty="0" smtClean="0">
                <a:solidFill>
                  <a:schemeClr val="tx1"/>
                </a:solidFill>
              </a:rPr>
              <a:t>“Tile picture as texture”</a:t>
            </a:r>
            <a:r>
              <a:rPr lang="en-US" sz="900" b="0" baseline="0" dirty="0" smtClean="0">
                <a:solidFill>
                  <a:schemeClr val="tx1"/>
                </a:solidFill>
              </a:rPr>
              <a:t>  is ticked</a:t>
            </a:r>
            <a:endParaRPr lang="en-US" sz="900" b="0" dirty="0" smtClean="0">
              <a:solidFill>
                <a:schemeClr val="tx1"/>
              </a:solidFill>
            </a:endParaRPr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0" y="1434415"/>
            <a:ext cx="4572000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4572000" y="1434415"/>
            <a:ext cx="4572000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5"/>
            <a:ext cx="4140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644003" y="1434415"/>
            <a:ext cx="4499999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Slim Text 2/3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1" y="1434415"/>
            <a:ext cx="5935915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076800" y="1600712"/>
            <a:ext cx="27072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2/3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6076750" y="1434415"/>
            <a:ext cx="3067250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60000" y="1600712"/>
            <a:ext cx="5575916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1" y="1434415"/>
            <a:ext cx="6548368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732000" y="1600712"/>
            <a:ext cx="2052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6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00" y="2067611"/>
            <a:ext cx="8424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02318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white">
          <a:xfrm>
            <a:off x="0" y="6406013"/>
            <a:ext cx="9144000" cy="4519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5"/>
            <a:ext cx="4140000" cy="4608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FontTx/>
              <a:buNone/>
              <a:defRPr b="0">
                <a:solidFill>
                  <a:schemeClr val="bg1"/>
                </a:solidFill>
              </a:defRPr>
            </a:lvl1pPr>
            <a:lvl2pPr marL="34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44000" y="1600145"/>
            <a:ext cx="4140000" cy="4608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FontTx/>
              <a:buNone/>
              <a:defRPr b="0">
                <a:solidFill>
                  <a:schemeClr val="bg1"/>
                </a:solidFill>
              </a:defRPr>
            </a:lvl1pPr>
            <a:lvl2pPr marL="34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3" name="Title 5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2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22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31" name="Rectangle 30"/>
          <p:cNvSpPr/>
          <p:nvPr userDrawn="1"/>
        </p:nvSpPr>
        <p:spPr bwMode="black">
          <a:xfrm>
            <a:off x="0" y="1429200"/>
            <a:ext cx="9144000" cy="10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00" y="2067611"/>
            <a:ext cx="4140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4644000" y="2067611"/>
            <a:ext cx="4140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02318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644000" y="1602318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00" y="2067611"/>
            <a:ext cx="8424000" cy="180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360000" y="4418491"/>
            <a:ext cx="8424000" cy="180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02318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3950491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59999" y="2067611"/>
            <a:ext cx="271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59999" y="1602318"/>
            <a:ext cx="271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0" name="Chart Placeholder 13"/>
          <p:cNvSpPr>
            <a:spLocks noGrp="1"/>
          </p:cNvSpPr>
          <p:nvPr>
            <p:ph type="chart" sz="quarter" idx="15"/>
          </p:nvPr>
        </p:nvSpPr>
        <p:spPr>
          <a:xfrm>
            <a:off x="3217916" y="2067611"/>
            <a:ext cx="271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3217916" y="1602318"/>
            <a:ext cx="271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4" name="Chart Placeholder 13"/>
          <p:cNvSpPr>
            <a:spLocks noGrp="1"/>
          </p:cNvSpPr>
          <p:nvPr>
            <p:ph type="chart" sz="quarter" idx="17"/>
          </p:nvPr>
        </p:nvSpPr>
        <p:spPr>
          <a:xfrm>
            <a:off x="6076750" y="2067611"/>
            <a:ext cx="271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076750" y="1602318"/>
            <a:ext cx="271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Graph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00" y="2067611"/>
            <a:ext cx="8424000" cy="1027103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360000" y="3630603"/>
            <a:ext cx="8424000" cy="1026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02318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3162603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24" name="Chart Placeholder 13"/>
          <p:cNvSpPr>
            <a:spLocks noGrp="1"/>
          </p:cNvSpPr>
          <p:nvPr>
            <p:ph type="chart" sz="quarter" idx="30"/>
          </p:nvPr>
        </p:nvSpPr>
        <p:spPr>
          <a:xfrm>
            <a:off x="360000" y="5192491"/>
            <a:ext cx="8424000" cy="1026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31" hasCustomPrompt="1"/>
          </p:nvPr>
        </p:nvSpPr>
        <p:spPr>
          <a:xfrm>
            <a:off x="360000" y="4724490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00" y="2067611"/>
            <a:ext cx="199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02318"/>
            <a:ext cx="199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0" name="Chart Placeholder 13"/>
          <p:cNvSpPr>
            <a:spLocks noGrp="1"/>
          </p:cNvSpPr>
          <p:nvPr>
            <p:ph type="chart" sz="quarter" idx="15"/>
          </p:nvPr>
        </p:nvSpPr>
        <p:spPr>
          <a:xfrm>
            <a:off x="2507124" y="2067611"/>
            <a:ext cx="199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07124" y="1602318"/>
            <a:ext cx="199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4" name="Chart Placeholder 13"/>
          <p:cNvSpPr>
            <a:spLocks noGrp="1"/>
          </p:cNvSpPr>
          <p:nvPr>
            <p:ph type="chart" sz="quarter" idx="17"/>
          </p:nvPr>
        </p:nvSpPr>
        <p:spPr>
          <a:xfrm>
            <a:off x="4649124" y="2067611"/>
            <a:ext cx="199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4649124" y="1602318"/>
            <a:ext cx="199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6" name="Chart Placeholder 13"/>
          <p:cNvSpPr>
            <a:spLocks noGrp="1"/>
          </p:cNvSpPr>
          <p:nvPr>
            <p:ph type="chart" sz="quarter" idx="21"/>
          </p:nvPr>
        </p:nvSpPr>
        <p:spPr>
          <a:xfrm>
            <a:off x="6791124" y="2067611"/>
            <a:ext cx="199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22" hasCustomPrompt="1"/>
          </p:nvPr>
        </p:nvSpPr>
        <p:spPr>
          <a:xfrm>
            <a:off x="6791124" y="1602318"/>
            <a:ext cx="199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23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644000" y="1600145"/>
            <a:ext cx="4140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360000" y="2067611"/>
            <a:ext cx="4140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1602318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 2/3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5"/>
            <a:ext cx="5575916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6076750" y="2067611"/>
            <a:ext cx="270725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6076750" y="1602318"/>
            <a:ext cx="270725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and Text 2/3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076750" y="1600145"/>
            <a:ext cx="270725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360000" y="2067611"/>
            <a:ext cx="5575916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1602318"/>
            <a:ext cx="5575916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3 Graph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6"/>
            <a:ext cx="8424000" cy="223228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4"/>
          </p:nvPr>
        </p:nvSpPr>
        <p:spPr>
          <a:xfrm>
            <a:off x="359999" y="4443896"/>
            <a:ext cx="2718000" cy="1569555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3978602"/>
            <a:ext cx="271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6"/>
          </p:nvPr>
        </p:nvSpPr>
        <p:spPr>
          <a:xfrm>
            <a:off x="3217916" y="4443896"/>
            <a:ext cx="2718000" cy="1569555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3217916" y="3978602"/>
            <a:ext cx="271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6" name="Chart Placeholder 13"/>
          <p:cNvSpPr>
            <a:spLocks noGrp="1"/>
          </p:cNvSpPr>
          <p:nvPr>
            <p:ph type="chart" sz="quarter" idx="18"/>
          </p:nvPr>
        </p:nvSpPr>
        <p:spPr>
          <a:xfrm>
            <a:off x="6076750" y="4443896"/>
            <a:ext cx="2718000" cy="1569555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6076750" y="3978602"/>
            <a:ext cx="271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s Horizonta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076750" y="1600145"/>
            <a:ext cx="270725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4"/>
          </p:nvPr>
        </p:nvSpPr>
        <p:spPr>
          <a:xfrm>
            <a:off x="360000" y="2058005"/>
            <a:ext cx="5575917" cy="1016604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1602318"/>
            <a:ext cx="5575917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36" name="Chart Placeholder 13"/>
          <p:cNvSpPr>
            <a:spLocks noGrp="1"/>
          </p:cNvSpPr>
          <p:nvPr>
            <p:ph type="chart" sz="quarter" idx="16"/>
          </p:nvPr>
        </p:nvSpPr>
        <p:spPr>
          <a:xfrm>
            <a:off x="360000" y="3622511"/>
            <a:ext cx="5575917" cy="10152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37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3164651"/>
            <a:ext cx="5575917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38" name="Chart Placeholder 13"/>
          <p:cNvSpPr>
            <a:spLocks noGrp="1"/>
          </p:cNvSpPr>
          <p:nvPr>
            <p:ph type="chart" sz="quarter" idx="18"/>
          </p:nvPr>
        </p:nvSpPr>
        <p:spPr>
          <a:xfrm>
            <a:off x="360000" y="5194452"/>
            <a:ext cx="5575917" cy="10152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39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4736593"/>
            <a:ext cx="5575917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Option 1">
    <p:bg bwMode="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" name="think-cell Slide" r:id="rId5" imgW="357" imgH="357" progId="">
                  <p:embed/>
                </p:oleObj>
              </mc:Choice>
              <mc:Fallback>
                <p:oleObj name="think-cell Slide" r:id="rId5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30" name="Group 29"/>
          <p:cNvGrpSpPr/>
          <p:nvPr userDrawn="1"/>
        </p:nvGrpSpPr>
        <p:grpSpPr>
          <a:xfrm>
            <a:off x="0" y="6398813"/>
            <a:ext cx="9144000" cy="459187"/>
            <a:chOff x="0" y="6398814"/>
            <a:chExt cx="9144000" cy="459186"/>
          </a:xfrm>
        </p:grpSpPr>
        <p:sp>
          <p:nvSpPr>
            <p:cNvPr id="31" name="Rectangle 30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32" name="Rectangle 31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53" name="Title 5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21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22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33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5"/>
            <a:ext cx="4140000" cy="4608568"/>
          </a:xfrm>
        </p:spPr>
        <p:txBody>
          <a:bodyPr/>
          <a:lstStyle>
            <a:lvl1pPr marL="450000" indent="-45000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rabicPeriod"/>
              <a:defRPr b="0">
                <a:solidFill>
                  <a:schemeClr val="accent1"/>
                </a:solidFill>
              </a:defRPr>
            </a:lvl1pPr>
            <a:lvl2pPr marL="342900" indent="-342900">
              <a:buClr>
                <a:schemeClr val="accent1"/>
              </a:buClr>
              <a:buFont typeface="+mj-lt"/>
              <a:buAutoNum type="arabicPeriod"/>
              <a:defRPr b="0">
                <a:solidFill>
                  <a:schemeClr val="accent1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44000" y="1600145"/>
            <a:ext cx="4140000" cy="4608568"/>
          </a:xfrm>
        </p:spPr>
        <p:txBody>
          <a:bodyPr/>
          <a:lstStyle>
            <a:lvl1pPr marL="450000" indent="-45000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rabicPeriod" startAt="7"/>
              <a:defRPr b="0">
                <a:solidFill>
                  <a:schemeClr val="accent1"/>
                </a:solidFill>
              </a:defRPr>
            </a:lvl1pPr>
            <a:lvl2pPr marL="342900" indent="-342900">
              <a:buClr>
                <a:schemeClr val="accent1"/>
              </a:buClr>
              <a:buFont typeface="+mj-lt"/>
              <a:buAutoNum type="arabicPeriod"/>
              <a:defRPr b="0">
                <a:solidFill>
                  <a:schemeClr val="accent1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02318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5"/>
          </p:nvPr>
        </p:nvSpPr>
        <p:spPr>
          <a:xfrm>
            <a:off x="360000" y="2067611"/>
            <a:ext cx="8424000" cy="4141103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02318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644000" y="1602318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8" name="Table Placeholder 11"/>
          <p:cNvSpPr>
            <a:spLocks noGrp="1"/>
          </p:cNvSpPr>
          <p:nvPr>
            <p:ph type="tbl" sz="quarter" idx="16"/>
          </p:nvPr>
        </p:nvSpPr>
        <p:spPr>
          <a:xfrm>
            <a:off x="360000" y="2067611"/>
            <a:ext cx="4140000" cy="4141103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20" name="Table Placeholder 11"/>
          <p:cNvSpPr>
            <a:spLocks noGrp="1"/>
          </p:cNvSpPr>
          <p:nvPr>
            <p:ph type="tbl" sz="quarter" idx="17"/>
          </p:nvPr>
        </p:nvSpPr>
        <p:spPr>
          <a:xfrm>
            <a:off x="4644000" y="2067611"/>
            <a:ext cx="4140000" cy="4141103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bl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02318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3943419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8" name="Table Placeholder 11"/>
          <p:cNvSpPr>
            <a:spLocks noGrp="1"/>
          </p:cNvSpPr>
          <p:nvPr>
            <p:ph type="tbl" sz="quarter" idx="16"/>
          </p:nvPr>
        </p:nvSpPr>
        <p:spPr>
          <a:xfrm>
            <a:off x="360000" y="2067611"/>
            <a:ext cx="8424000" cy="1800000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20" name="Table Placeholder 11"/>
          <p:cNvSpPr>
            <a:spLocks noGrp="1"/>
          </p:cNvSpPr>
          <p:nvPr>
            <p:ph type="tbl" sz="quarter" idx="17"/>
          </p:nvPr>
        </p:nvSpPr>
        <p:spPr>
          <a:xfrm>
            <a:off x="360000" y="4408713"/>
            <a:ext cx="8424000" cy="1800000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bl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02318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3165309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8" name="Table Placeholder 11"/>
          <p:cNvSpPr>
            <a:spLocks noGrp="1"/>
          </p:cNvSpPr>
          <p:nvPr>
            <p:ph type="tbl" sz="quarter" idx="16"/>
          </p:nvPr>
        </p:nvSpPr>
        <p:spPr>
          <a:xfrm>
            <a:off x="360000" y="2067611"/>
            <a:ext cx="8424000" cy="1026000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20" name="Table Placeholder 11"/>
          <p:cNvSpPr>
            <a:spLocks noGrp="1"/>
          </p:cNvSpPr>
          <p:nvPr>
            <p:ph type="tbl" sz="quarter" idx="17"/>
          </p:nvPr>
        </p:nvSpPr>
        <p:spPr>
          <a:xfrm>
            <a:off x="360000" y="3630603"/>
            <a:ext cx="8424000" cy="1026000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4717419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7" name="Table Placeholder 11"/>
          <p:cNvSpPr>
            <a:spLocks noGrp="1"/>
          </p:cNvSpPr>
          <p:nvPr>
            <p:ph type="tbl" sz="quarter" idx="21"/>
          </p:nvPr>
        </p:nvSpPr>
        <p:spPr>
          <a:xfrm>
            <a:off x="360000" y="5182713"/>
            <a:ext cx="8424000" cy="1026000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5"/>
            <a:ext cx="4140000" cy="46085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644000" y="1602318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4" name="Table Placeholder 11"/>
          <p:cNvSpPr>
            <a:spLocks noGrp="1"/>
          </p:cNvSpPr>
          <p:nvPr>
            <p:ph type="tbl" sz="quarter" idx="17"/>
          </p:nvPr>
        </p:nvSpPr>
        <p:spPr>
          <a:xfrm>
            <a:off x="4644000" y="2067611"/>
            <a:ext cx="4140000" cy="4141103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grpSp>
        <p:nvGrpSpPr>
          <p:cNvPr id="5" name="Group 69"/>
          <p:cNvGrpSpPr/>
          <p:nvPr userDrawn="1"/>
        </p:nvGrpSpPr>
        <p:grpSpPr>
          <a:xfrm>
            <a:off x="452334" y="1636711"/>
            <a:ext cx="8331667" cy="4554515"/>
            <a:chOff x="452333" y="1274889"/>
            <a:chExt cx="8331667" cy="3222290"/>
          </a:xfrm>
        </p:grpSpPr>
        <p:cxnSp>
          <p:nvCxnSpPr>
            <p:cNvPr id="8" name="Straight Arrow Connector 7"/>
            <p:cNvCxnSpPr/>
            <p:nvPr/>
          </p:nvCxnSpPr>
          <p:spPr>
            <a:xfrm>
              <a:off x="452333" y="4497179"/>
              <a:ext cx="8331667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/>
            <p:cNvCxnSpPr/>
            <p:nvPr/>
          </p:nvCxnSpPr>
          <p:spPr>
            <a:xfrm flipV="1">
              <a:off x="452333" y="1274894"/>
              <a:ext cx="0" cy="3222285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/>
            <p:cNvSpPr/>
            <p:nvPr/>
          </p:nvSpPr>
          <p:spPr>
            <a:xfrm>
              <a:off x="528735" y="1274894"/>
              <a:ext cx="208390" cy="152425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/>
                <a:t>++</a:t>
              </a:r>
              <a:endParaRPr lang="en-US" sz="1400" dirty="0"/>
            </a:p>
          </p:txBody>
        </p:sp>
        <p:grpSp>
          <p:nvGrpSpPr>
            <p:cNvPr id="13" name="Group 62"/>
            <p:cNvGrpSpPr/>
            <p:nvPr/>
          </p:nvGrpSpPr>
          <p:grpSpPr>
            <a:xfrm>
              <a:off x="813530" y="1274889"/>
              <a:ext cx="7970470" cy="2993966"/>
              <a:chOff x="813530" y="1454889"/>
              <a:chExt cx="7970470" cy="2993966"/>
            </a:xfrm>
          </p:grpSpPr>
          <p:sp>
            <p:nvSpPr>
              <p:cNvPr id="16" name="Rectangle 499"/>
              <p:cNvSpPr>
                <a:spLocks noChangeArrowheads="1"/>
              </p:cNvSpPr>
              <p:nvPr/>
            </p:nvSpPr>
            <p:spPr bwMode="auto">
              <a:xfrm>
                <a:off x="813530" y="1454889"/>
                <a:ext cx="7970470" cy="2992698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B7B9BA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cxnSp>
            <p:nvCxnSpPr>
              <p:cNvPr id="17" name="Straight Connector 16"/>
              <p:cNvCxnSpPr/>
              <p:nvPr/>
            </p:nvCxnSpPr>
            <p:spPr>
              <a:xfrm>
                <a:off x="4798765" y="1456156"/>
                <a:ext cx="0" cy="2992699"/>
              </a:xfrm>
              <a:prstGeom prst="line">
                <a:avLst/>
              </a:prstGeom>
              <a:ln w="6350">
                <a:solidFill>
                  <a:srgbClr val="B7B9B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/>
            </p:nvCxnSpPr>
            <p:spPr>
              <a:xfrm>
                <a:off x="813600" y="2952505"/>
                <a:ext cx="7970400" cy="0"/>
              </a:xfrm>
              <a:prstGeom prst="line">
                <a:avLst/>
              </a:prstGeom>
              <a:ln w="6350">
                <a:solidFill>
                  <a:srgbClr val="B7B9B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" name="Rectangle 13"/>
            <p:cNvSpPr/>
            <p:nvPr/>
          </p:nvSpPr>
          <p:spPr>
            <a:xfrm>
              <a:off x="8575610" y="4311797"/>
              <a:ext cx="208390" cy="152425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/>
                <a:t>++</a:t>
              </a:r>
              <a:endParaRPr lang="en-US" sz="1400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3619" y="4311797"/>
              <a:ext cx="118622" cy="152425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/>
                <a:t>--</a:t>
              </a:r>
              <a:endParaRPr lang="en-US" sz="1400" dirty="0"/>
            </a:p>
          </p:txBody>
        </p:sp>
      </p:grpSp>
      <p:sp>
        <p:nvSpPr>
          <p:cNvPr id="28" name="Text Placeholder 2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652" y="2986167"/>
            <a:ext cx="257369" cy="1771318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879043" y="6068115"/>
            <a:ext cx="1844021" cy="184666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4"/>
          </p:nvPr>
        </p:nvSpPr>
        <p:spPr>
          <a:xfrm>
            <a:off x="813600" y="1636711"/>
            <a:ext cx="3978000" cy="2111496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400"/>
            </a:lvl1pPr>
            <a:lvl2pPr marL="179388" indent="-179388"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9"/>
          </p:nvPr>
        </p:nvSpPr>
        <p:spPr>
          <a:xfrm>
            <a:off x="4806000" y="1636711"/>
            <a:ext cx="3978000" cy="2111496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400"/>
            </a:lvl1pPr>
            <a:lvl2pPr marL="179388" indent="-179388"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20"/>
          </p:nvPr>
        </p:nvSpPr>
        <p:spPr>
          <a:xfrm>
            <a:off x="813600" y="3753503"/>
            <a:ext cx="3978000" cy="2111496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400"/>
            </a:lvl1pPr>
            <a:lvl2pPr marL="179388" indent="-179388"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21"/>
          </p:nvPr>
        </p:nvSpPr>
        <p:spPr>
          <a:xfrm>
            <a:off x="4806000" y="3753503"/>
            <a:ext cx="3978000" cy="2111496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400"/>
            </a:lvl1pPr>
            <a:lvl2pPr marL="179388" indent="-179388"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atrix 1/3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Arrow Connector 21"/>
          <p:cNvCxnSpPr/>
          <p:nvPr/>
        </p:nvCxnSpPr>
        <p:spPr>
          <a:xfrm>
            <a:off x="3335009" y="6194547"/>
            <a:ext cx="5483583" cy="0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3335008" y="1636191"/>
            <a:ext cx="0" cy="4558356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3411410" y="1636191"/>
            <a:ext cx="208390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400" dirty="0" smtClean="0"/>
              <a:t>++</a:t>
            </a:r>
            <a:endParaRPr lang="en-US" sz="1400" dirty="0"/>
          </a:p>
        </p:txBody>
      </p:sp>
      <p:grpSp>
        <p:nvGrpSpPr>
          <p:cNvPr id="3" name="Group 62"/>
          <p:cNvGrpSpPr/>
          <p:nvPr/>
        </p:nvGrpSpPr>
        <p:grpSpPr>
          <a:xfrm>
            <a:off x="3696205" y="1636184"/>
            <a:ext cx="5112860" cy="4231789"/>
            <a:chOff x="813530" y="1454890"/>
            <a:chExt cx="7970470" cy="2991436"/>
          </a:xfrm>
        </p:grpSpPr>
        <p:sp>
          <p:nvSpPr>
            <p:cNvPr id="36" name="Rectangle 499"/>
            <p:cNvSpPr>
              <a:spLocks noChangeArrowheads="1"/>
            </p:cNvSpPr>
            <p:nvPr/>
          </p:nvSpPr>
          <p:spPr bwMode="auto">
            <a:xfrm>
              <a:off x="813530" y="1454890"/>
              <a:ext cx="7970470" cy="298933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cxnSp>
          <p:nvCxnSpPr>
            <p:cNvPr id="37" name="Straight Connector 36"/>
            <p:cNvCxnSpPr/>
            <p:nvPr/>
          </p:nvCxnSpPr>
          <p:spPr>
            <a:xfrm>
              <a:off x="4798765" y="1456155"/>
              <a:ext cx="0" cy="2990171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813599" y="2951241"/>
              <a:ext cx="7970401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ectangle 29"/>
          <p:cNvSpPr/>
          <p:nvPr/>
        </p:nvSpPr>
        <p:spPr>
          <a:xfrm>
            <a:off x="8610201" y="5929200"/>
            <a:ext cx="208390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400" dirty="0" smtClean="0"/>
              <a:t>++</a:t>
            </a:r>
            <a:endParaRPr lang="en-US" sz="1400" dirty="0"/>
          </a:p>
        </p:txBody>
      </p:sp>
      <p:sp>
        <p:nvSpPr>
          <p:cNvPr id="32" name="Rectangle 31"/>
          <p:cNvSpPr/>
          <p:nvPr/>
        </p:nvSpPr>
        <p:spPr>
          <a:xfrm>
            <a:off x="3456294" y="5929200"/>
            <a:ext cx="118622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400" dirty="0" smtClean="0"/>
              <a:t>--</a:t>
            </a:r>
            <a:endParaRPr lang="en-US" sz="1400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7" name="Footer Placeholder 6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39" name="Text Placeholder 25"/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3206327" y="2989486"/>
            <a:ext cx="257369" cy="1771318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40" name="Text Placeholder 25"/>
          <p:cNvSpPr>
            <a:spLocks noGrp="1"/>
          </p:cNvSpPr>
          <p:nvPr userDrawn="1">
            <p:ph type="body" sz="quarter" idx="13" hasCustomPrompt="1"/>
          </p:nvPr>
        </p:nvSpPr>
        <p:spPr bwMode="gray">
          <a:xfrm>
            <a:off x="5335390" y="6071434"/>
            <a:ext cx="1844021" cy="184666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18" name="Title 17"/>
          <p:cNvSpPr>
            <a:spLocks noGrp="1"/>
          </p:cNvSpPr>
          <p:nvPr userDrawn="1"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360000" y="1600712"/>
            <a:ext cx="27072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x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Arrow Connector 21"/>
          <p:cNvCxnSpPr/>
          <p:nvPr/>
        </p:nvCxnSpPr>
        <p:spPr>
          <a:xfrm>
            <a:off x="452333" y="6194547"/>
            <a:ext cx="6096035" cy="0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452333" y="1636191"/>
            <a:ext cx="0" cy="4558356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528735" y="1636191"/>
            <a:ext cx="208390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400" dirty="0" smtClean="0"/>
              <a:t>++</a:t>
            </a:r>
            <a:endParaRPr lang="en-US" sz="1400" dirty="0"/>
          </a:p>
        </p:txBody>
      </p:sp>
      <p:grpSp>
        <p:nvGrpSpPr>
          <p:cNvPr id="27" name="Group 62"/>
          <p:cNvGrpSpPr/>
          <p:nvPr/>
        </p:nvGrpSpPr>
        <p:grpSpPr>
          <a:xfrm>
            <a:off x="813530" y="1636184"/>
            <a:ext cx="5764944" cy="4231789"/>
            <a:chOff x="813530" y="1454890"/>
            <a:chExt cx="7970470" cy="2991436"/>
          </a:xfrm>
        </p:grpSpPr>
        <p:sp>
          <p:nvSpPr>
            <p:cNvPr id="36" name="Rectangle 499"/>
            <p:cNvSpPr>
              <a:spLocks noChangeArrowheads="1"/>
            </p:cNvSpPr>
            <p:nvPr/>
          </p:nvSpPr>
          <p:spPr bwMode="auto">
            <a:xfrm>
              <a:off x="813530" y="1454890"/>
              <a:ext cx="7970470" cy="298933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cxnSp>
          <p:nvCxnSpPr>
            <p:cNvPr id="37" name="Straight Connector 36"/>
            <p:cNvCxnSpPr/>
            <p:nvPr/>
          </p:nvCxnSpPr>
          <p:spPr>
            <a:xfrm>
              <a:off x="4798765" y="1456155"/>
              <a:ext cx="0" cy="2990171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813599" y="2951241"/>
              <a:ext cx="7970401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ectangle 29"/>
          <p:cNvSpPr/>
          <p:nvPr/>
        </p:nvSpPr>
        <p:spPr>
          <a:xfrm>
            <a:off x="6339978" y="5929200"/>
            <a:ext cx="208390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400" dirty="0" smtClean="0"/>
              <a:t>++</a:t>
            </a:r>
            <a:endParaRPr lang="en-US" sz="1400" dirty="0"/>
          </a:p>
        </p:txBody>
      </p:sp>
      <p:sp>
        <p:nvSpPr>
          <p:cNvPr id="32" name="Rectangle 31"/>
          <p:cNvSpPr/>
          <p:nvPr/>
        </p:nvSpPr>
        <p:spPr>
          <a:xfrm>
            <a:off x="573619" y="5929200"/>
            <a:ext cx="118622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400" dirty="0" smtClean="0"/>
              <a:t>--</a:t>
            </a:r>
            <a:endParaRPr lang="en-US" sz="1400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7" name="Footer Placeholder 6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39" name="Text Placeholder 25"/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323652" y="2989486"/>
            <a:ext cx="257369" cy="1771318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40" name="Text Placeholder 25"/>
          <p:cNvSpPr>
            <a:spLocks noGrp="1"/>
          </p:cNvSpPr>
          <p:nvPr userDrawn="1">
            <p:ph type="body" sz="quarter" idx="13" hasCustomPrompt="1"/>
          </p:nvPr>
        </p:nvSpPr>
        <p:spPr bwMode="gray">
          <a:xfrm>
            <a:off x="2773994" y="6071434"/>
            <a:ext cx="1844021" cy="184666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18" name="Title 17"/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5"/>
          </p:nvPr>
        </p:nvSpPr>
        <p:spPr>
          <a:xfrm>
            <a:off x="6732000" y="1600712"/>
            <a:ext cx="2052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grpSp>
        <p:nvGrpSpPr>
          <p:cNvPr id="14" name="Group 55"/>
          <p:cNvGrpSpPr/>
          <p:nvPr userDrawn="1"/>
        </p:nvGrpSpPr>
        <p:grpSpPr>
          <a:xfrm>
            <a:off x="4752146" y="1636185"/>
            <a:ext cx="4031854" cy="4558363"/>
            <a:chOff x="4752146" y="1274890"/>
            <a:chExt cx="4031854" cy="3222289"/>
          </a:xfrm>
        </p:grpSpPr>
        <p:cxnSp>
          <p:nvCxnSpPr>
            <p:cNvPr id="15" name="Straight Arrow Connector 14"/>
            <p:cNvCxnSpPr/>
            <p:nvPr/>
          </p:nvCxnSpPr>
          <p:spPr>
            <a:xfrm>
              <a:off x="4752146" y="4497179"/>
              <a:ext cx="4027569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 flipV="1">
              <a:off x="4752146" y="1274894"/>
              <a:ext cx="0" cy="3222285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oup 49"/>
            <p:cNvGrpSpPr/>
            <p:nvPr/>
          </p:nvGrpSpPr>
          <p:grpSpPr>
            <a:xfrm>
              <a:off x="5113343" y="1274890"/>
              <a:ext cx="3666372" cy="2989333"/>
              <a:chOff x="813530" y="1454890"/>
              <a:chExt cx="7970470" cy="2989333"/>
            </a:xfrm>
          </p:grpSpPr>
          <p:sp>
            <p:nvSpPr>
              <p:cNvPr id="23" name="Rectangle 499"/>
              <p:cNvSpPr>
                <a:spLocks noChangeArrowheads="1"/>
              </p:cNvSpPr>
              <p:nvPr/>
            </p:nvSpPr>
            <p:spPr bwMode="auto">
              <a:xfrm>
                <a:off x="813530" y="1454890"/>
                <a:ext cx="7970470" cy="2989333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B7B9BA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cxnSp>
            <p:nvCxnSpPr>
              <p:cNvPr id="24" name="Straight Connector 23"/>
              <p:cNvCxnSpPr/>
              <p:nvPr/>
            </p:nvCxnSpPr>
            <p:spPr>
              <a:xfrm>
                <a:off x="4798765" y="1456156"/>
                <a:ext cx="0" cy="2988067"/>
              </a:xfrm>
              <a:prstGeom prst="line">
                <a:avLst/>
              </a:prstGeom>
              <a:ln w="6350">
                <a:solidFill>
                  <a:srgbClr val="B7B9B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/>
            </p:nvCxnSpPr>
            <p:spPr>
              <a:xfrm>
                <a:off x="813600" y="2950189"/>
                <a:ext cx="7970400" cy="0"/>
              </a:xfrm>
              <a:prstGeom prst="line">
                <a:avLst/>
              </a:prstGeom>
              <a:ln w="6350">
                <a:solidFill>
                  <a:srgbClr val="B7B9B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" name="Rectangle 19"/>
            <p:cNvSpPr/>
            <p:nvPr/>
          </p:nvSpPr>
          <p:spPr>
            <a:xfrm>
              <a:off x="4828549" y="1274894"/>
              <a:ext cx="208390" cy="15229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/>
                <a:t>++</a:t>
              </a:r>
              <a:endParaRPr lang="en-US" sz="1400" dirty="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8575610" y="4309607"/>
              <a:ext cx="208390" cy="15229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/>
                <a:t>++</a:t>
              </a:r>
              <a:endParaRPr lang="en-US" sz="1400" dirty="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873433" y="4309607"/>
              <a:ext cx="118622" cy="15229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/>
                <a:t>--</a:t>
              </a:r>
              <a:endParaRPr lang="en-US" sz="1400" dirty="0"/>
            </a:p>
          </p:txBody>
        </p:sp>
      </p:grpSp>
      <p:sp>
        <p:nvSpPr>
          <p:cNvPr id="28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23464" y="2989486"/>
            <a:ext cx="257369" cy="1771318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040161" y="6071434"/>
            <a:ext cx="1844021" cy="184666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5"/>
            <a:ext cx="4140000" cy="46085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Option 2">
    <p:bg bwMode="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0" name="think-cell Slide" r:id="rId5" imgW="357" imgH="357" progId="">
                  <p:embed/>
                </p:oleObj>
              </mc:Choice>
              <mc:Fallback>
                <p:oleObj name="think-cell Slide" r:id="rId5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0" y="6398813"/>
            <a:ext cx="9144000" cy="459187"/>
            <a:chOff x="0" y="6398814"/>
            <a:chExt cx="9144000" cy="459186"/>
          </a:xfrm>
        </p:grpSpPr>
        <p:sp>
          <p:nvSpPr>
            <p:cNvPr id="24" name="Rectangle 23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25" name="Rectangle 24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Business unit | Footer</a:t>
            </a:r>
            <a:endParaRPr lang="en-US" noProof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5"/>
            <a:ext cx="4140000" cy="4608569"/>
          </a:xfrm>
        </p:spPr>
        <p:txBody>
          <a:bodyPr/>
          <a:lstStyle>
            <a:lvl1pPr marL="450000" indent="-450000">
              <a:lnSpc>
                <a:spcPct val="100000"/>
              </a:lnSpc>
              <a:spcBef>
                <a:spcPts val="800"/>
              </a:spcBef>
              <a:buClrTx/>
              <a:buFont typeface="+mj-lt"/>
              <a:buAutoNum type="arabicPeriod"/>
              <a:defRPr b="1">
                <a:solidFill>
                  <a:schemeClr val="accent1"/>
                </a:solidFill>
              </a:defRPr>
            </a:lvl1pPr>
            <a:lvl2pPr marL="449263" indent="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+mj-lt"/>
              <a:buNone/>
              <a:defRPr sz="1600" b="0">
                <a:solidFill>
                  <a:schemeClr val="accent1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644000" y="1600145"/>
            <a:ext cx="4140000" cy="4608569"/>
          </a:xfrm>
        </p:spPr>
        <p:txBody>
          <a:bodyPr/>
          <a:lstStyle>
            <a:lvl1pPr marL="450000" indent="-450000">
              <a:lnSpc>
                <a:spcPct val="100000"/>
              </a:lnSpc>
              <a:spcBef>
                <a:spcPts val="800"/>
              </a:spcBef>
              <a:buClrTx/>
              <a:buFont typeface="+mj-lt"/>
              <a:buAutoNum type="arabicPeriod" startAt="7"/>
              <a:defRPr b="1">
                <a:solidFill>
                  <a:schemeClr val="accent1"/>
                </a:solidFill>
              </a:defRPr>
            </a:lvl1pPr>
            <a:lvl2pPr marL="44926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+mj-lt"/>
              <a:buNone/>
              <a:defRPr sz="1600" b="0">
                <a:solidFill>
                  <a:schemeClr val="accent1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29" name="Title 28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21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36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7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vie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edia Placeholder 4"/>
          <p:cNvSpPr>
            <a:spLocks noGrp="1" noChangeAspect="1"/>
          </p:cNvSpPr>
          <p:nvPr>
            <p:ph type="media" sz="quarter" idx="12" hasCustomPrompt="1"/>
          </p:nvPr>
        </p:nvSpPr>
        <p:spPr bwMode="auto">
          <a:xfrm>
            <a:off x="1219975" y="1434415"/>
            <a:ext cx="6704053" cy="4964400"/>
          </a:xfrm>
          <a:solidFill>
            <a:schemeClr val="tx1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Movie</a:t>
            </a:r>
          </a:p>
          <a:p>
            <a:r>
              <a:rPr lang="en-US" dirty="0" smtClean="0"/>
              <a:t>(depending on movie size/ratio)</a:t>
            </a:r>
          </a:p>
          <a:p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vie with AkzoNobel logo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 bwMode="auto">
          <a:xfrm>
            <a:off x="0" y="0"/>
            <a:ext cx="9144000" cy="6858000"/>
          </a:xfrm>
          <a:noFill/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Movie</a:t>
            </a:r>
          </a:p>
          <a:p>
            <a:r>
              <a:rPr lang="en-US" dirty="0" smtClean="0"/>
              <a:t>(depending on movie size/ratio)</a:t>
            </a:r>
          </a:p>
          <a:p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endParaRPr lang="en-US" dirty="0" smtClean="0"/>
          </a:p>
          <a:p>
            <a:endParaRPr lang="en-US" dirty="0"/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9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vie with AkzoNobel logo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 bwMode="auto">
          <a:xfrm>
            <a:off x="0" y="0"/>
            <a:ext cx="9144000" cy="6858000"/>
          </a:xfrm>
          <a:noFill/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ovie</a:t>
            </a:r>
          </a:p>
          <a:p>
            <a:r>
              <a:rPr lang="en-US" dirty="0" smtClean="0"/>
              <a:t>(depending on movie size/ratio)</a:t>
            </a:r>
          </a:p>
          <a:p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endParaRPr lang="en-US" dirty="0" smtClean="0"/>
          </a:p>
          <a:p>
            <a:endParaRPr lang="en-US" dirty="0"/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7015590" y="372869"/>
            <a:ext cx="1779160" cy="259200"/>
            <a:chOff x="7015590" y="372869"/>
            <a:chExt cx="1779160" cy="259200"/>
          </a:xfrm>
        </p:grpSpPr>
        <p:sp>
          <p:nvSpPr>
            <p:cNvPr id="33" name="Rectangle 32"/>
            <p:cNvSpPr/>
            <p:nvPr userDrawn="1"/>
          </p:nvSpPr>
          <p:spPr>
            <a:xfrm>
              <a:off x="7015590" y="372869"/>
              <a:ext cx="1779160" cy="2552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 smtClean="0"/>
            </a:p>
          </p:txBody>
        </p:sp>
        <p:grpSp>
          <p:nvGrpSpPr>
            <p:cNvPr id="34" name="Group 33"/>
            <p:cNvGrpSpPr>
              <a:grpSpLocks noChangeAspect="1"/>
            </p:cNvGrpSpPr>
            <p:nvPr userDrawn="1"/>
          </p:nvGrpSpPr>
          <p:grpSpPr bwMode="black">
            <a:xfrm>
              <a:off x="7015590" y="372869"/>
              <a:ext cx="1779160" cy="2592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35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Rectangle 133"/>
          <p:cNvSpPr/>
          <p:nvPr userDrawn="1"/>
        </p:nvSpPr>
        <p:spPr bwMode="white">
          <a:xfrm>
            <a:off x="0" y="1"/>
            <a:ext cx="9144000" cy="2820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136" name="Group 135"/>
          <p:cNvGrpSpPr>
            <a:grpSpLocks noChangeAspect="1"/>
          </p:cNvGrpSpPr>
          <p:nvPr userDrawn="1"/>
        </p:nvGrpSpPr>
        <p:grpSpPr bwMode="black">
          <a:xfrm>
            <a:off x="5619753" y="1581491"/>
            <a:ext cx="3228853" cy="604800"/>
            <a:chOff x="1427163" y="-1920875"/>
            <a:chExt cx="7881938" cy="1476375"/>
          </a:xfrm>
        </p:grpSpPr>
        <p:sp>
          <p:nvSpPr>
            <p:cNvPr id="137" name="AutoShape 21"/>
            <p:cNvSpPr>
              <a:spLocks noChangeAspect="1" noChangeArrowheads="1" noTextEdit="1"/>
            </p:cNvSpPr>
            <p:nvPr/>
          </p:nvSpPr>
          <p:spPr bwMode="black">
            <a:xfrm>
              <a:off x="1427163" y="-1917700"/>
              <a:ext cx="7874000" cy="1473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23"/>
            <p:cNvSpPr>
              <a:spLocks noEditPoints="1"/>
            </p:cNvSpPr>
            <p:nvPr/>
          </p:nvSpPr>
          <p:spPr bwMode="black">
            <a:xfrm>
              <a:off x="5854701" y="-1920875"/>
              <a:ext cx="3454400" cy="1473200"/>
            </a:xfrm>
            <a:custGeom>
              <a:avLst/>
              <a:gdLst/>
              <a:ahLst/>
              <a:cxnLst>
                <a:cxn ang="0">
                  <a:pos x="898" y="12"/>
                </a:cxn>
                <a:cxn ang="0">
                  <a:pos x="882" y="34"/>
                </a:cxn>
                <a:cxn ang="0">
                  <a:pos x="865" y="65"/>
                </a:cxn>
                <a:cxn ang="0">
                  <a:pos x="872" y="23"/>
                </a:cxn>
                <a:cxn ang="0">
                  <a:pos x="869" y="1"/>
                </a:cxn>
                <a:cxn ang="0">
                  <a:pos x="857" y="38"/>
                </a:cxn>
                <a:cxn ang="0">
                  <a:pos x="848" y="76"/>
                </a:cxn>
                <a:cxn ang="0">
                  <a:pos x="845" y="17"/>
                </a:cxn>
                <a:cxn ang="0">
                  <a:pos x="833" y="31"/>
                </a:cxn>
                <a:cxn ang="0">
                  <a:pos x="834" y="63"/>
                </a:cxn>
                <a:cxn ang="0">
                  <a:pos x="832" y="59"/>
                </a:cxn>
                <a:cxn ang="0">
                  <a:pos x="818" y="33"/>
                </a:cxn>
                <a:cxn ang="0">
                  <a:pos x="819" y="69"/>
                </a:cxn>
                <a:cxn ang="0">
                  <a:pos x="798" y="105"/>
                </a:cxn>
                <a:cxn ang="0">
                  <a:pos x="750" y="107"/>
                </a:cxn>
                <a:cxn ang="0">
                  <a:pos x="633" y="184"/>
                </a:cxn>
                <a:cxn ang="0">
                  <a:pos x="496" y="256"/>
                </a:cxn>
                <a:cxn ang="0">
                  <a:pos x="536" y="219"/>
                </a:cxn>
                <a:cxn ang="0">
                  <a:pos x="322" y="389"/>
                </a:cxn>
                <a:cxn ang="0">
                  <a:pos x="423" y="393"/>
                </a:cxn>
                <a:cxn ang="0">
                  <a:pos x="418" y="346"/>
                </a:cxn>
                <a:cxn ang="0">
                  <a:pos x="645" y="268"/>
                </a:cxn>
                <a:cxn ang="0">
                  <a:pos x="766" y="146"/>
                </a:cxn>
                <a:cxn ang="0">
                  <a:pos x="830" y="108"/>
                </a:cxn>
                <a:cxn ang="0">
                  <a:pos x="853" y="91"/>
                </a:cxn>
                <a:cxn ang="0">
                  <a:pos x="884" y="56"/>
                </a:cxn>
                <a:cxn ang="0">
                  <a:pos x="915" y="9"/>
                </a:cxn>
                <a:cxn ang="0">
                  <a:pos x="417" y="125"/>
                </a:cxn>
                <a:cxn ang="0">
                  <a:pos x="425" y="117"/>
                </a:cxn>
                <a:cxn ang="0">
                  <a:pos x="401" y="109"/>
                </a:cxn>
                <a:cxn ang="0">
                  <a:pos x="417" y="125"/>
                </a:cxn>
                <a:cxn ang="0">
                  <a:pos x="356" y="110"/>
                </a:cxn>
                <a:cxn ang="0">
                  <a:pos x="355" y="147"/>
                </a:cxn>
                <a:cxn ang="0">
                  <a:pos x="351" y="135"/>
                </a:cxn>
                <a:cxn ang="0">
                  <a:pos x="335" y="119"/>
                </a:cxn>
                <a:cxn ang="0">
                  <a:pos x="435" y="213"/>
                </a:cxn>
                <a:cxn ang="0">
                  <a:pos x="361" y="234"/>
                </a:cxn>
                <a:cxn ang="0">
                  <a:pos x="369" y="209"/>
                </a:cxn>
                <a:cxn ang="0">
                  <a:pos x="372" y="183"/>
                </a:cxn>
                <a:cxn ang="0">
                  <a:pos x="392" y="172"/>
                </a:cxn>
                <a:cxn ang="0">
                  <a:pos x="377" y="163"/>
                </a:cxn>
                <a:cxn ang="0">
                  <a:pos x="400" y="164"/>
                </a:cxn>
                <a:cxn ang="0">
                  <a:pos x="388" y="153"/>
                </a:cxn>
                <a:cxn ang="0">
                  <a:pos x="396" y="139"/>
                </a:cxn>
                <a:cxn ang="0">
                  <a:pos x="369" y="88"/>
                </a:cxn>
                <a:cxn ang="0">
                  <a:pos x="319" y="39"/>
                </a:cxn>
                <a:cxn ang="0">
                  <a:pos x="275" y="91"/>
                </a:cxn>
                <a:cxn ang="0">
                  <a:pos x="288" y="98"/>
                </a:cxn>
                <a:cxn ang="0">
                  <a:pos x="293" y="147"/>
                </a:cxn>
                <a:cxn ang="0">
                  <a:pos x="292" y="276"/>
                </a:cxn>
                <a:cxn ang="0">
                  <a:pos x="278" y="272"/>
                </a:cxn>
                <a:cxn ang="0">
                  <a:pos x="248" y="289"/>
                </a:cxn>
                <a:cxn ang="0">
                  <a:pos x="186" y="332"/>
                </a:cxn>
                <a:cxn ang="0">
                  <a:pos x="119" y="365"/>
                </a:cxn>
                <a:cxn ang="0">
                  <a:pos x="267" y="393"/>
                </a:cxn>
                <a:cxn ang="0">
                  <a:pos x="756" y="99"/>
                </a:cxn>
                <a:cxn ang="0">
                  <a:pos x="805" y="78"/>
                </a:cxn>
                <a:cxn ang="0">
                  <a:pos x="791" y="68"/>
                </a:cxn>
                <a:cxn ang="0">
                  <a:pos x="807" y="34"/>
                </a:cxn>
                <a:cxn ang="0">
                  <a:pos x="783" y="45"/>
                </a:cxn>
                <a:cxn ang="0">
                  <a:pos x="754" y="98"/>
                </a:cxn>
              </a:cxnLst>
              <a:rect l="0" t="0" r="r" b="b"/>
              <a:pathLst>
                <a:path w="921" h="393">
                  <a:moveTo>
                    <a:pt x="910" y="2"/>
                  </a:moveTo>
                  <a:cubicBezTo>
                    <a:pt x="906" y="3"/>
                    <a:pt x="902" y="6"/>
                    <a:pt x="898" y="12"/>
                  </a:cubicBezTo>
                  <a:cubicBezTo>
                    <a:pt x="896" y="14"/>
                    <a:pt x="892" y="21"/>
                    <a:pt x="890" y="26"/>
                  </a:cubicBezTo>
                  <a:cubicBezTo>
                    <a:pt x="886" y="29"/>
                    <a:pt x="885" y="31"/>
                    <a:pt x="882" y="34"/>
                  </a:cubicBezTo>
                  <a:cubicBezTo>
                    <a:pt x="879" y="37"/>
                    <a:pt x="875" y="42"/>
                    <a:pt x="874" y="43"/>
                  </a:cubicBezTo>
                  <a:cubicBezTo>
                    <a:pt x="872" y="50"/>
                    <a:pt x="865" y="65"/>
                    <a:pt x="865" y="65"/>
                  </a:cubicBezTo>
                  <a:cubicBezTo>
                    <a:pt x="866" y="58"/>
                    <a:pt x="872" y="41"/>
                    <a:pt x="873" y="37"/>
                  </a:cubicBezTo>
                  <a:cubicBezTo>
                    <a:pt x="874" y="33"/>
                    <a:pt x="872" y="27"/>
                    <a:pt x="872" y="23"/>
                  </a:cubicBezTo>
                  <a:cubicBezTo>
                    <a:pt x="871" y="19"/>
                    <a:pt x="871" y="15"/>
                    <a:pt x="871" y="12"/>
                  </a:cubicBezTo>
                  <a:cubicBezTo>
                    <a:pt x="871" y="10"/>
                    <a:pt x="873" y="0"/>
                    <a:pt x="869" y="1"/>
                  </a:cubicBezTo>
                  <a:cubicBezTo>
                    <a:pt x="866" y="1"/>
                    <a:pt x="860" y="3"/>
                    <a:pt x="858" y="12"/>
                  </a:cubicBezTo>
                  <a:cubicBezTo>
                    <a:pt x="857" y="18"/>
                    <a:pt x="858" y="27"/>
                    <a:pt x="857" y="38"/>
                  </a:cubicBezTo>
                  <a:cubicBezTo>
                    <a:pt x="857" y="40"/>
                    <a:pt x="855" y="43"/>
                    <a:pt x="854" y="50"/>
                  </a:cubicBezTo>
                  <a:cubicBezTo>
                    <a:pt x="852" y="57"/>
                    <a:pt x="850" y="68"/>
                    <a:pt x="848" y="76"/>
                  </a:cubicBezTo>
                  <a:cubicBezTo>
                    <a:pt x="848" y="73"/>
                    <a:pt x="851" y="56"/>
                    <a:pt x="851" y="49"/>
                  </a:cubicBezTo>
                  <a:cubicBezTo>
                    <a:pt x="852" y="42"/>
                    <a:pt x="846" y="20"/>
                    <a:pt x="845" y="17"/>
                  </a:cubicBezTo>
                  <a:cubicBezTo>
                    <a:pt x="845" y="14"/>
                    <a:pt x="844" y="13"/>
                    <a:pt x="842" y="13"/>
                  </a:cubicBezTo>
                  <a:cubicBezTo>
                    <a:pt x="837" y="12"/>
                    <a:pt x="832" y="20"/>
                    <a:pt x="833" y="31"/>
                  </a:cubicBezTo>
                  <a:cubicBezTo>
                    <a:pt x="834" y="34"/>
                    <a:pt x="838" y="44"/>
                    <a:pt x="838" y="49"/>
                  </a:cubicBezTo>
                  <a:cubicBezTo>
                    <a:pt x="837" y="54"/>
                    <a:pt x="835" y="60"/>
                    <a:pt x="834" y="63"/>
                  </a:cubicBezTo>
                  <a:cubicBezTo>
                    <a:pt x="834" y="70"/>
                    <a:pt x="833" y="80"/>
                    <a:pt x="832" y="85"/>
                  </a:cubicBezTo>
                  <a:cubicBezTo>
                    <a:pt x="833" y="81"/>
                    <a:pt x="832" y="62"/>
                    <a:pt x="832" y="59"/>
                  </a:cubicBezTo>
                  <a:cubicBezTo>
                    <a:pt x="831" y="56"/>
                    <a:pt x="826" y="43"/>
                    <a:pt x="823" y="35"/>
                  </a:cubicBezTo>
                  <a:cubicBezTo>
                    <a:pt x="822" y="32"/>
                    <a:pt x="820" y="32"/>
                    <a:pt x="818" y="33"/>
                  </a:cubicBezTo>
                  <a:cubicBezTo>
                    <a:pt x="812" y="36"/>
                    <a:pt x="812" y="47"/>
                    <a:pt x="813" y="52"/>
                  </a:cubicBezTo>
                  <a:cubicBezTo>
                    <a:pt x="814" y="54"/>
                    <a:pt x="817" y="62"/>
                    <a:pt x="819" y="69"/>
                  </a:cubicBezTo>
                  <a:cubicBezTo>
                    <a:pt x="815" y="100"/>
                    <a:pt x="808" y="102"/>
                    <a:pt x="808" y="102"/>
                  </a:cubicBezTo>
                  <a:cubicBezTo>
                    <a:pt x="808" y="102"/>
                    <a:pt x="806" y="104"/>
                    <a:pt x="798" y="105"/>
                  </a:cubicBezTo>
                  <a:cubicBezTo>
                    <a:pt x="784" y="108"/>
                    <a:pt x="759" y="114"/>
                    <a:pt x="752" y="107"/>
                  </a:cubicBezTo>
                  <a:cubicBezTo>
                    <a:pt x="752" y="107"/>
                    <a:pt x="751" y="106"/>
                    <a:pt x="750" y="107"/>
                  </a:cubicBezTo>
                  <a:cubicBezTo>
                    <a:pt x="748" y="108"/>
                    <a:pt x="730" y="124"/>
                    <a:pt x="719" y="132"/>
                  </a:cubicBezTo>
                  <a:cubicBezTo>
                    <a:pt x="684" y="158"/>
                    <a:pt x="661" y="165"/>
                    <a:pt x="633" y="184"/>
                  </a:cubicBezTo>
                  <a:cubicBezTo>
                    <a:pt x="602" y="234"/>
                    <a:pt x="572" y="250"/>
                    <a:pt x="533" y="261"/>
                  </a:cubicBezTo>
                  <a:cubicBezTo>
                    <a:pt x="516" y="266"/>
                    <a:pt x="500" y="265"/>
                    <a:pt x="496" y="256"/>
                  </a:cubicBezTo>
                  <a:cubicBezTo>
                    <a:pt x="489" y="235"/>
                    <a:pt x="517" y="224"/>
                    <a:pt x="536" y="221"/>
                  </a:cubicBezTo>
                  <a:cubicBezTo>
                    <a:pt x="537" y="221"/>
                    <a:pt x="537" y="219"/>
                    <a:pt x="536" y="219"/>
                  </a:cubicBezTo>
                  <a:cubicBezTo>
                    <a:pt x="527" y="214"/>
                    <a:pt x="516" y="211"/>
                    <a:pt x="503" y="211"/>
                  </a:cubicBezTo>
                  <a:cubicBezTo>
                    <a:pt x="405" y="209"/>
                    <a:pt x="313" y="326"/>
                    <a:pt x="322" y="389"/>
                  </a:cubicBezTo>
                  <a:cubicBezTo>
                    <a:pt x="322" y="390"/>
                    <a:pt x="322" y="392"/>
                    <a:pt x="322" y="393"/>
                  </a:cubicBezTo>
                  <a:cubicBezTo>
                    <a:pt x="423" y="393"/>
                    <a:pt x="423" y="393"/>
                    <a:pt x="423" y="393"/>
                  </a:cubicBezTo>
                  <a:cubicBezTo>
                    <a:pt x="437" y="380"/>
                    <a:pt x="452" y="363"/>
                    <a:pt x="467" y="342"/>
                  </a:cubicBezTo>
                  <a:cubicBezTo>
                    <a:pt x="467" y="342"/>
                    <a:pt x="440" y="347"/>
                    <a:pt x="418" y="346"/>
                  </a:cubicBezTo>
                  <a:cubicBezTo>
                    <a:pt x="418" y="346"/>
                    <a:pt x="448" y="340"/>
                    <a:pt x="491" y="311"/>
                  </a:cubicBezTo>
                  <a:cubicBezTo>
                    <a:pt x="562" y="329"/>
                    <a:pt x="626" y="237"/>
                    <a:pt x="645" y="268"/>
                  </a:cubicBezTo>
                  <a:cubicBezTo>
                    <a:pt x="645" y="269"/>
                    <a:pt x="647" y="268"/>
                    <a:pt x="647" y="268"/>
                  </a:cubicBezTo>
                  <a:cubicBezTo>
                    <a:pt x="704" y="229"/>
                    <a:pt x="726" y="180"/>
                    <a:pt x="766" y="146"/>
                  </a:cubicBezTo>
                  <a:cubicBezTo>
                    <a:pt x="784" y="131"/>
                    <a:pt x="787" y="125"/>
                    <a:pt x="818" y="117"/>
                  </a:cubicBezTo>
                  <a:cubicBezTo>
                    <a:pt x="827" y="114"/>
                    <a:pt x="827" y="111"/>
                    <a:pt x="830" y="108"/>
                  </a:cubicBezTo>
                  <a:cubicBezTo>
                    <a:pt x="834" y="103"/>
                    <a:pt x="840" y="107"/>
                    <a:pt x="844" y="100"/>
                  </a:cubicBezTo>
                  <a:cubicBezTo>
                    <a:pt x="846" y="97"/>
                    <a:pt x="844" y="92"/>
                    <a:pt x="853" y="91"/>
                  </a:cubicBezTo>
                  <a:cubicBezTo>
                    <a:pt x="861" y="89"/>
                    <a:pt x="862" y="81"/>
                    <a:pt x="866" y="77"/>
                  </a:cubicBezTo>
                  <a:cubicBezTo>
                    <a:pt x="876" y="65"/>
                    <a:pt x="875" y="66"/>
                    <a:pt x="884" y="56"/>
                  </a:cubicBezTo>
                  <a:cubicBezTo>
                    <a:pt x="888" y="52"/>
                    <a:pt x="901" y="35"/>
                    <a:pt x="903" y="33"/>
                  </a:cubicBezTo>
                  <a:cubicBezTo>
                    <a:pt x="905" y="29"/>
                    <a:pt x="909" y="16"/>
                    <a:pt x="915" y="9"/>
                  </a:cubicBezTo>
                  <a:cubicBezTo>
                    <a:pt x="921" y="3"/>
                    <a:pt x="916" y="0"/>
                    <a:pt x="910" y="2"/>
                  </a:cubicBezTo>
                  <a:close/>
                  <a:moveTo>
                    <a:pt x="417" y="125"/>
                  </a:moveTo>
                  <a:cubicBezTo>
                    <a:pt x="418" y="125"/>
                    <a:pt x="419" y="125"/>
                    <a:pt x="420" y="124"/>
                  </a:cubicBezTo>
                  <a:cubicBezTo>
                    <a:pt x="422" y="122"/>
                    <a:pt x="425" y="119"/>
                    <a:pt x="425" y="117"/>
                  </a:cubicBezTo>
                  <a:cubicBezTo>
                    <a:pt x="425" y="113"/>
                    <a:pt x="419" y="107"/>
                    <a:pt x="409" y="107"/>
                  </a:cubicBezTo>
                  <a:cubicBezTo>
                    <a:pt x="405" y="106"/>
                    <a:pt x="404" y="107"/>
                    <a:pt x="401" y="109"/>
                  </a:cubicBezTo>
                  <a:cubicBezTo>
                    <a:pt x="398" y="113"/>
                    <a:pt x="401" y="121"/>
                    <a:pt x="402" y="123"/>
                  </a:cubicBezTo>
                  <a:cubicBezTo>
                    <a:pt x="410" y="123"/>
                    <a:pt x="415" y="125"/>
                    <a:pt x="417" y="125"/>
                  </a:cubicBezTo>
                  <a:close/>
                  <a:moveTo>
                    <a:pt x="343" y="106"/>
                  </a:moveTo>
                  <a:cubicBezTo>
                    <a:pt x="343" y="106"/>
                    <a:pt x="347" y="110"/>
                    <a:pt x="356" y="110"/>
                  </a:cubicBezTo>
                  <a:cubicBezTo>
                    <a:pt x="366" y="110"/>
                    <a:pt x="370" y="112"/>
                    <a:pt x="372" y="115"/>
                  </a:cubicBezTo>
                  <a:cubicBezTo>
                    <a:pt x="372" y="134"/>
                    <a:pt x="362" y="147"/>
                    <a:pt x="355" y="147"/>
                  </a:cubicBezTo>
                  <a:cubicBezTo>
                    <a:pt x="353" y="147"/>
                    <a:pt x="352" y="146"/>
                    <a:pt x="353" y="145"/>
                  </a:cubicBezTo>
                  <a:cubicBezTo>
                    <a:pt x="353" y="142"/>
                    <a:pt x="353" y="138"/>
                    <a:pt x="351" y="135"/>
                  </a:cubicBezTo>
                  <a:cubicBezTo>
                    <a:pt x="348" y="131"/>
                    <a:pt x="346" y="128"/>
                    <a:pt x="339" y="125"/>
                  </a:cubicBezTo>
                  <a:cubicBezTo>
                    <a:pt x="338" y="124"/>
                    <a:pt x="335" y="123"/>
                    <a:pt x="335" y="119"/>
                  </a:cubicBezTo>
                  <a:cubicBezTo>
                    <a:pt x="335" y="112"/>
                    <a:pt x="343" y="106"/>
                    <a:pt x="343" y="106"/>
                  </a:cubicBezTo>
                  <a:close/>
                  <a:moveTo>
                    <a:pt x="435" y="213"/>
                  </a:moveTo>
                  <a:cubicBezTo>
                    <a:pt x="437" y="212"/>
                    <a:pt x="437" y="211"/>
                    <a:pt x="435" y="211"/>
                  </a:cubicBezTo>
                  <a:cubicBezTo>
                    <a:pt x="410" y="214"/>
                    <a:pt x="385" y="223"/>
                    <a:pt x="361" y="234"/>
                  </a:cubicBezTo>
                  <a:cubicBezTo>
                    <a:pt x="360" y="232"/>
                    <a:pt x="360" y="231"/>
                    <a:pt x="360" y="227"/>
                  </a:cubicBezTo>
                  <a:cubicBezTo>
                    <a:pt x="360" y="220"/>
                    <a:pt x="361" y="209"/>
                    <a:pt x="369" y="209"/>
                  </a:cubicBezTo>
                  <a:cubicBezTo>
                    <a:pt x="387" y="209"/>
                    <a:pt x="397" y="199"/>
                    <a:pt x="397" y="199"/>
                  </a:cubicBezTo>
                  <a:cubicBezTo>
                    <a:pt x="397" y="199"/>
                    <a:pt x="370" y="195"/>
                    <a:pt x="372" y="183"/>
                  </a:cubicBezTo>
                  <a:cubicBezTo>
                    <a:pt x="373" y="180"/>
                    <a:pt x="375" y="178"/>
                    <a:pt x="378" y="179"/>
                  </a:cubicBezTo>
                  <a:cubicBezTo>
                    <a:pt x="388" y="181"/>
                    <a:pt x="392" y="172"/>
                    <a:pt x="392" y="172"/>
                  </a:cubicBezTo>
                  <a:cubicBezTo>
                    <a:pt x="392" y="172"/>
                    <a:pt x="382" y="170"/>
                    <a:pt x="378" y="167"/>
                  </a:cubicBezTo>
                  <a:cubicBezTo>
                    <a:pt x="377" y="166"/>
                    <a:pt x="376" y="165"/>
                    <a:pt x="377" y="163"/>
                  </a:cubicBezTo>
                  <a:cubicBezTo>
                    <a:pt x="379" y="162"/>
                    <a:pt x="381" y="160"/>
                    <a:pt x="384" y="161"/>
                  </a:cubicBezTo>
                  <a:cubicBezTo>
                    <a:pt x="392" y="163"/>
                    <a:pt x="397" y="164"/>
                    <a:pt x="400" y="164"/>
                  </a:cubicBezTo>
                  <a:cubicBezTo>
                    <a:pt x="402" y="164"/>
                    <a:pt x="403" y="162"/>
                    <a:pt x="401" y="162"/>
                  </a:cubicBezTo>
                  <a:cubicBezTo>
                    <a:pt x="398" y="160"/>
                    <a:pt x="394" y="156"/>
                    <a:pt x="388" y="153"/>
                  </a:cubicBezTo>
                  <a:cubicBezTo>
                    <a:pt x="397" y="148"/>
                    <a:pt x="403" y="140"/>
                    <a:pt x="403" y="140"/>
                  </a:cubicBezTo>
                  <a:cubicBezTo>
                    <a:pt x="403" y="140"/>
                    <a:pt x="400" y="141"/>
                    <a:pt x="396" y="139"/>
                  </a:cubicBezTo>
                  <a:cubicBezTo>
                    <a:pt x="390" y="136"/>
                    <a:pt x="390" y="109"/>
                    <a:pt x="386" y="103"/>
                  </a:cubicBezTo>
                  <a:cubicBezTo>
                    <a:pt x="382" y="96"/>
                    <a:pt x="374" y="90"/>
                    <a:pt x="369" y="88"/>
                  </a:cubicBezTo>
                  <a:cubicBezTo>
                    <a:pt x="362" y="85"/>
                    <a:pt x="356" y="84"/>
                    <a:pt x="353" y="81"/>
                  </a:cubicBezTo>
                  <a:cubicBezTo>
                    <a:pt x="347" y="75"/>
                    <a:pt x="357" y="39"/>
                    <a:pt x="319" y="39"/>
                  </a:cubicBezTo>
                  <a:cubicBezTo>
                    <a:pt x="295" y="39"/>
                    <a:pt x="279" y="58"/>
                    <a:pt x="275" y="77"/>
                  </a:cubicBezTo>
                  <a:cubicBezTo>
                    <a:pt x="274" y="84"/>
                    <a:pt x="275" y="91"/>
                    <a:pt x="275" y="91"/>
                  </a:cubicBezTo>
                  <a:cubicBezTo>
                    <a:pt x="275" y="91"/>
                    <a:pt x="295" y="87"/>
                    <a:pt x="302" y="107"/>
                  </a:cubicBezTo>
                  <a:cubicBezTo>
                    <a:pt x="296" y="101"/>
                    <a:pt x="290" y="98"/>
                    <a:pt x="288" y="98"/>
                  </a:cubicBezTo>
                  <a:cubicBezTo>
                    <a:pt x="281" y="97"/>
                    <a:pt x="276" y="101"/>
                    <a:pt x="275" y="108"/>
                  </a:cubicBezTo>
                  <a:cubicBezTo>
                    <a:pt x="271" y="128"/>
                    <a:pt x="291" y="145"/>
                    <a:pt x="293" y="147"/>
                  </a:cubicBezTo>
                  <a:cubicBezTo>
                    <a:pt x="289" y="187"/>
                    <a:pt x="307" y="212"/>
                    <a:pt x="308" y="244"/>
                  </a:cubicBezTo>
                  <a:cubicBezTo>
                    <a:pt x="309" y="265"/>
                    <a:pt x="295" y="274"/>
                    <a:pt x="292" y="276"/>
                  </a:cubicBezTo>
                  <a:cubicBezTo>
                    <a:pt x="275" y="293"/>
                    <a:pt x="271" y="300"/>
                    <a:pt x="266" y="314"/>
                  </a:cubicBezTo>
                  <a:cubicBezTo>
                    <a:pt x="266" y="303"/>
                    <a:pt x="269" y="289"/>
                    <a:pt x="278" y="272"/>
                  </a:cubicBezTo>
                  <a:cubicBezTo>
                    <a:pt x="279" y="271"/>
                    <a:pt x="279" y="270"/>
                    <a:pt x="277" y="271"/>
                  </a:cubicBezTo>
                  <a:cubicBezTo>
                    <a:pt x="269" y="275"/>
                    <a:pt x="254" y="284"/>
                    <a:pt x="248" y="289"/>
                  </a:cubicBezTo>
                  <a:cubicBezTo>
                    <a:pt x="242" y="296"/>
                    <a:pt x="235" y="302"/>
                    <a:pt x="229" y="309"/>
                  </a:cubicBezTo>
                  <a:cubicBezTo>
                    <a:pt x="220" y="312"/>
                    <a:pt x="205" y="318"/>
                    <a:pt x="186" y="332"/>
                  </a:cubicBezTo>
                  <a:cubicBezTo>
                    <a:pt x="170" y="343"/>
                    <a:pt x="160" y="364"/>
                    <a:pt x="160" y="364"/>
                  </a:cubicBezTo>
                  <a:cubicBezTo>
                    <a:pt x="160" y="364"/>
                    <a:pt x="143" y="363"/>
                    <a:pt x="119" y="365"/>
                  </a:cubicBezTo>
                  <a:cubicBezTo>
                    <a:pt x="67" y="369"/>
                    <a:pt x="0" y="393"/>
                    <a:pt x="0" y="393"/>
                  </a:cubicBezTo>
                  <a:cubicBezTo>
                    <a:pt x="267" y="393"/>
                    <a:pt x="267" y="393"/>
                    <a:pt x="267" y="393"/>
                  </a:cubicBezTo>
                  <a:cubicBezTo>
                    <a:pt x="272" y="323"/>
                    <a:pt x="364" y="236"/>
                    <a:pt x="435" y="213"/>
                  </a:cubicBezTo>
                  <a:close/>
                  <a:moveTo>
                    <a:pt x="756" y="99"/>
                  </a:moveTo>
                  <a:cubicBezTo>
                    <a:pt x="764" y="95"/>
                    <a:pt x="775" y="94"/>
                    <a:pt x="786" y="88"/>
                  </a:cubicBezTo>
                  <a:cubicBezTo>
                    <a:pt x="793" y="85"/>
                    <a:pt x="795" y="84"/>
                    <a:pt x="805" y="78"/>
                  </a:cubicBezTo>
                  <a:cubicBezTo>
                    <a:pt x="806" y="77"/>
                    <a:pt x="806" y="76"/>
                    <a:pt x="804" y="76"/>
                  </a:cubicBezTo>
                  <a:cubicBezTo>
                    <a:pt x="799" y="76"/>
                    <a:pt x="791" y="74"/>
                    <a:pt x="791" y="68"/>
                  </a:cubicBezTo>
                  <a:cubicBezTo>
                    <a:pt x="790" y="62"/>
                    <a:pt x="792" y="55"/>
                    <a:pt x="797" y="49"/>
                  </a:cubicBezTo>
                  <a:cubicBezTo>
                    <a:pt x="800" y="46"/>
                    <a:pt x="807" y="40"/>
                    <a:pt x="807" y="34"/>
                  </a:cubicBezTo>
                  <a:cubicBezTo>
                    <a:pt x="807" y="23"/>
                    <a:pt x="802" y="22"/>
                    <a:pt x="797" y="22"/>
                  </a:cubicBezTo>
                  <a:cubicBezTo>
                    <a:pt x="797" y="32"/>
                    <a:pt x="787" y="41"/>
                    <a:pt x="783" y="45"/>
                  </a:cubicBezTo>
                  <a:cubicBezTo>
                    <a:pt x="771" y="60"/>
                    <a:pt x="759" y="65"/>
                    <a:pt x="758" y="80"/>
                  </a:cubicBezTo>
                  <a:cubicBezTo>
                    <a:pt x="758" y="85"/>
                    <a:pt x="755" y="94"/>
                    <a:pt x="754" y="98"/>
                  </a:cubicBezTo>
                  <a:cubicBezTo>
                    <a:pt x="754" y="100"/>
                    <a:pt x="755" y="100"/>
                    <a:pt x="756" y="99"/>
                  </a:cubicBezTo>
                  <a:close/>
                </a:path>
              </a:pathLst>
            </a:custGeom>
            <a:blipFill dpi="0"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39" name="Group 33"/>
            <p:cNvGrpSpPr/>
            <p:nvPr/>
          </p:nvGrpSpPr>
          <p:grpSpPr bwMode="black">
            <a:xfrm>
              <a:off x="1430338" y="-1666875"/>
              <a:ext cx="4968876" cy="7239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140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33" name="Title 1"/>
          <p:cNvSpPr>
            <a:spLocks noGrp="1"/>
          </p:cNvSpPr>
          <p:nvPr>
            <p:ph type="ctrTitle"/>
          </p:nvPr>
        </p:nvSpPr>
        <p:spPr>
          <a:xfrm>
            <a:off x="359999" y="360000"/>
            <a:ext cx="7298102" cy="10878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ts val="3000"/>
              </a:lnSpc>
              <a:spcBef>
                <a:spcPts val="0"/>
              </a:spcBef>
              <a:defRPr lang="en-GB" sz="30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cxnSp>
        <p:nvCxnSpPr>
          <p:cNvPr id="135" name="Straight Connector 134"/>
          <p:cNvCxnSpPr/>
          <p:nvPr userDrawn="1"/>
        </p:nvCxnSpPr>
        <p:spPr bwMode="black">
          <a:xfrm>
            <a:off x="0" y="2182691"/>
            <a:ext cx="9144000" cy="0"/>
          </a:xfrm>
          <a:prstGeom prst="line">
            <a:avLst/>
          </a:prstGeom>
          <a:ln w="6350">
            <a:solidFill>
              <a:srgbClr val="005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 bwMode="white">
          <a:xfrm>
            <a:off x="0" y="-1"/>
            <a:ext cx="9144000" cy="32233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6" name="Group 25"/>
          <p:cNvGrpSpPr>
            <a:grpSpLocks noChangeAspect="1"/>
          </p:cNvGrpSpPr>
          <p:nvPr userDrawn="1"/>
        </p:nvGrpSpPr>
        <p:grpSpPr bwMode="black">
          <a:xfrm>
            <a:off x="5619754" y="1571340"/>
            <a:ext cx="3228853" cy="806400"/>
            <a:chOff x="1427163" y="-1920875"/>
            <a:chExt cx="7881938" cy="1476375"/>
          </a:xfrm>
        </p:grpSpPr>
        <p:sp>
          <p:nvSpPr>
            <p:cNvPr id="27" name="AutoShape 21"/>
            <p:cNvSpPr>
              <a:spLocks noChangeAspect="1" noChangeArrowheads="1" noTextEdit="1"/>
            </p:cNvSpPr>
            <p:nvPr/>
          </p:nvSpPr>
          <p:spPr bwMode="black">
            <a:xfrm>
              <a:off x="1427163" y="-1917700"/>
              <a:ext cx="7874000" cy="1473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23"/>
            <p:cNvSpPr>
              <a:spLocks noEditPoints="1"/>
            </p:cNvSpPr>
            <p:nvPr/>
          </p:nvSpPr>
          <p:spPr bwMode="black">
            <a:xfrm>
              <a:off x="5854701" y="-1920875"/>
              <a:ext cx="3454400" cy="1473200"/>
            </a:xfrm>
            <a:custGeom>
              <a:avLst/>
              <a:gdLst/>
              <a:ahLst/>
              <a:cxnLst>
                <a:cxn ang="0">
                  <a:pos x="898" y="12"/>
                </a:cxn>
                <a:cxn ang="0">
                  <a:pos x="882" y="34"/>
                </a:cxn>
                <a:cxn ang="0">
                  <a:pos x="865" y="65"/>
                </a:cxn>
                <a:cxn ang="0">
                  <a:pos x="872" y="23"/>
                </a:cxn>
                <a:cxn ang="0">
                  <a:pos x="869" y="1"/>
                </a:cxn>
                <a:cxn ang="0">
                  <a:pos x="857" y="38"/>
                </a:cxn>
                <a:cxn ang="0">
                  <a:pos x="848" y="76"/>
                </a:cxn>
                <a:cxn ang="0">
                  <a:pos x="845" y="17"/>
                </a:cxn>
                <a:cxn ang="0">
                  <a:pos x="833" y="31"/>
                </a:cxn>
                <a:cxn ang="0">
                  <a:pos x="834" y="63"/>
                </a:cxn>
                <a:cxn ang="0">
                  <a:pos x="832" y="59"/>
                </a:cxn>
                <a:cxn ang="0">
                  <a:pos x="818" y="33"/>
                </a:cxn>
                <a:cxn ang="0">
                  <a:pos x="819" y="69"/>
                </a:cxn>
                <a:cxn ang="0">
                  <a:pos x="798" y="105"/>
                </a:cxn>
                <a:cxn ang="0">
                  <a:pos x="750" y="107"/>
                </a:cxn>
                <a:cxn ang="0">
                  <a:pos x="633" y="184"/>
                </a:cxn>
                <a:cxn ang="0">
                  <a:pos x="496" y="256"/>
                </a:cxn>
                <a:cxn ang="0">
                  <a:pos x="536" y="219"/>
                </a:cxn>
                <a:cxn ang="0">
                  <a:pos x="322" y="389"/>
                </a:cxn>
                <a:cxn ang="0">
                  <a:pos x="423" y="393"/>
                </a:cxn>
                <a:cxn ang="0">
                  <a:pos x="418" y="346"/>
                </a:cxn>
                <a:cxn ang="0">
                  <a:pos x="645" y="268"/>
                </a:cxn>
                <a:cxn ang="0">
                  <a:pos x="766" y="146"/>
                </a:cxn>
                <a:cxn ang="0">
                  <a:pos x="830" y="108"/>
                </a:cxn>
                <a:cxn ang="0">
                  <a:pos x="853" y="91"/>
                </a:cxn>
                <a:cxn ang="0">
                  <a:pos x="884" y="56"/>
                </a:cxn>
                <a:cxn ang="0">
                  <a:pos x="915" y="9"/>
                </a:cxn>
                <a:cxn ang="0">
                  <a:pos x="417" y="125"/>
                </a:cxn>
                <a:cxn ang="0">
                  <a:pos x="425" y="117"/>
                </a:cxn>
                <a:cxn ang="0">
                  <a:pos x="401" y="109"/>
                </a:cxn>
                <a:cxn ang="0">
                  <a:pos x="417" y="125"/>
                </a:cxn>
                <a:cxn ang="0">
                  <a:pos x="356" y="110"/>
                </a:cxn>
                <a:cxn ang="0">
                  <a:pos x="355" y="147"/>
                </a:cxn>
                <a:cxn ang="0">
                  <a:pos x="351" y="135"/>
                </a:cxn>
                <a:cxn ang="0">
                  <a:pos x="335" y="119"/>
                </a:cxn>
                <a:cxn ang="0">
                  <a:pos x="435" y="213"/>
                </a:cxn>
                <a:cxn ang="0">
                  <a:pos x="361" y="234"/>
                </a:cxn>
                <a:cxn ang="0">
                  <a:pos x="369" y="209"/>
                </a:cxn>
                <a:cxn ang="0">
                  <a:pos x="372" y="183"/>
                </a:cxn>
                <a:cxn ang="0">
                  <a:pos x="392" y="172"/>
                </a:cxn>
                <a:cxn ang="0">
                  <a:pos x="377" y="163"/>
                </a:cxn>
                <a:cxn ang="0">
                  <a:pos x="400" y="164"/>
                </a:cxn>
                <a:cxn ang="0">
                  <a:pos x="388" y="153"/>
                </a:cxn>
                <a:cxn ang="0">
                  <a:pos x="396" y="139"/>
                </a:cxn>
                <a:cxn ang="0">
                  <a:pos x="369" y="88"/>
                </a:cxn>
                <a:cxn ang="0">
                  <a:pos x="319" y="39"/>
                </a:cxn>
                <a:cxn ang="0">
                  <a:pos x="275" y="91"/>
                </a:cxn>
                <a:cxn ang="0">
                  <a:pos x="288" y="98"/>
                </a:cxn>
                <a:cxn ang="0">
                  <a:pos x="293" y="147"/>
                </a:cxn>
                <a:cxn ang="0">
                  <a:pos x="292" y="276"/>
                </a:cxn>
                <a:cxn ang="0">
                  <a:pos x="278" y="272"/>
                </a:cxn>
                <a:cxn ang="0">
                  <a:pos x="248" y="289"/>
                </a:cxn>
                <a:cxn ang="0">
                  <a:pos x="186" y="332"/>
                </a:cxn>
                <a:cxn ang="0">
                  <a:pos x="119" y="365"/>
                </a:cxn>
                <a:cxn ang="0">
                  <a:pos x="267" y="393"/>
                </a:cxn>
                <a:cxn ang="0">
                  <a:pos x="756" y="99"/>
                </a:cxn>
                <a:cxn ang="0">
                  <a:pos x="805" y="78"/>
                </a:cxn>
                <a:cxn ang="0">
                  <a:pos x="791" y="68"/>
                </a:cxn>
                <a:cxn ang="0">
                  <a:pos x="807" y="34"/>
                </a:cxn>
                <a:cxn ang="0">
                  <a:pos x="783" y="45"/>
                </a:cxn>
                <a:cxn ang="0">
                  <a:pos x="754" y="98"/>
                </a:cxn>
              </a:cxnLst>
              <a:rect l="0" t="0" r="r" b="b"/>
              <a:pathLst>
                <a:path w="921" h="393">
                  <a:moveTo>
                    <a:pt x="910" y="2"/>
                  </a:moveTo>
                  <a:cubicBezTo>
                    <a:pt x="906" y="3"/>
                    <a:pt x="902" y="6"/>
                    <a:pt x="898" y="12"/>
                  </a:cubicBezTo>
                  <a:cubicBezTo>
                    <a:pt x="896" y="14"/>
                    <a:pt x="892" y="21"/>
                    <a:pt x="890" y="26"/>
                  </a:cubicBezTo>
                  <a:cubicBezTo>
                    <a:pt x="886" y="29"/>
                    <a:pt x="885" y="31"/>
                    <a:pt x="882" y="34"/>
                  </a:cubicBezTo>
                  <a:cubicBezTo>
                    <a:pt x="879" y="37"/>
                    <a:pt x="875" y="42"/>
                    <a:pt x="874" y="43"/>
                  </a:cubicBezTo>
                  <a:cubicBezTo>
                    <a:pt x="872" y="50"/>
                    <a:pt x="865" y="65"/>
                    <a:pt x="865" y="65"/>
                  </a:cubicBezTo>
                  <a:cubicBezTo>
                    <a:pt x="866" y="58"/>
                    <a:pt x="872" y="41"/>
                    <a:pt x="873" y="37"/>
                  </a:cubicBezTo>
                  <a:cubicBezTo>
                    <a:pt x="874" y="33"/>
                    <a:pt x="872" y="27"/>
                    <a:pt x="872" y="23"/>
                  </a:cubicBezTo>
                  <a:cubicBezTo>
                    <a:pt x="871" y="19"/>
                    <a:pt x="871" y="15"/>
                    <a:pt x="871" y="12"/>
                  </a:cubicBezTo>
                  <a:cubicBezTo>
                    <a:pt x="871" y="10"/>
                    <a:pt x="873" y="0"/>
                    <a:pt x="869" y="1"/>
                  </a:cubicBezTo>
                  <a:cubicBezTo>
                    <a:pt x="866" y="1"/>
                    <a:pt x="860" y="3"/>
                    <a:pt x="858" y="12"/>
                  </a:cubicBezTo>
                  <a:cubicBezTo>
                    <a:pt x="857" y="18"/>
                    <a:pt x="858" y="27"/>
                    <a:pt x="857" y="38"/>
                  </a:cubicBezTo>
                  <a:cubicBezTo>
                    <a:pt x="857" y="40"/>
                    <a:pt x="855" y="43"/>
                    <a:pt x="854" y="50"/>
                  </a:cubicBezTo>
                  <a:cubicBezTo>
                    <a:pt x="852" y="57"/>
                    <a:pt x="850" y="68"/>
                    <a:pt x="848" y="76"/>
                  </a:cubicBezTo>
                  <a:cubicBezTo>
                    <a:pt x="848" y="73"/>
                    <a:pt x="851" y="56"/>
                    <a:pt x="851" y="49"/>
                  </a:cubicBezTo>
                  <a:cubicBezTo>
                    <a:pt x="852" y="42"/>
                    <a:pt x="846" y="20"/>
                    <a:pt x="845" y="17"/>
                  </a:cubicBezTo>
                  <a:cubicBezTo>
                    <a:pt x="845" y="14"/>
                    <a:pt x="844" y="13"/>
                    <a:pt x="842" y="13"/>
                  </a:cubicBezTo>
                  <a:cubicBezTo>
                    <a:pt x="837" y="12"/>
                    <a:pt x="832" y="20"/>
                    <a:pt x="833" y="31"/>
                  </a:cubicBezTo>
                  <a:cubicBezTo>
                    <a:pt x="834" y="34"/>
                    <a:pt x="838" y="44"/>
                    <a:pt x="838" y="49"/>
                  </a:cubicBezTo>
                  <a:cubicBezTo>
                    <a:pt x="837" y="54"/>
                    <a:pt x="835" y="60"/>
                    <a:pt x="834" y="63"/>
                  </a:cubicBezTo>
                  <a:cubicBezTo>
                    <a:pt x="834" y="70"/>
                    <a:pt x="833" y="80"/>
                    <a:pt x="832" y="85"/>
                  </a:cubicBezTo>
                  <a:cubicBezTo>
                    <a:pt x="833" y="81"/>
                    <a:pt x="832" y="62"/>
                    <a:pt x="832" y="59"/>
                  </a:cubicBezTo>
                  <a:cubicBezTo>
                    <a:pt x="831" y="56"/>
                    <a:pt x="826" y="43"/>
                    <a:pt x="823" y="35"/>
                  </a:cubicBezTo>
                  <a:cubicBezTo>
                    <a:pt x="822" y="32"/>
                    <a:pt x="820" y="32"/>
                    <a:pt x="818" y="33"/>
                  </a:cubicBezTo>
                  <a:cubicBezTo>
                    <a:pt x="812" y="36"/>
                    <a:pt x="812" y="47"/>
                    <a:pt x="813" y="52"/>
                  </a:cubicBezTo>
                  <a:cubicBezTo>
                    <a:pt x="814" y="54"/>
                    <a:pt x="817" y="62"/>
                    <a:pt x="819" y="69"/>
                  </a:cubicBezTo>
                  <a:cubicBezTo>
                    <a:pt x="815" y="100"/>
                    <a:pt x="808" y="102"/>
                    <a:pt x="808" y="102"/>
                  </a:cubicBezTo>
                  <a:cubicBezTo>
                    <a:pt x="808" y="102"/>
                    <a:pt x="806" y="104"/>
                    <a:pt x="798" y="105"/>
                  </a:cubicBezTo>
                  <a:cubicBezTo>
                    <a:pt x="784" y="108"/>
                    <a:pt x="759" y="114"/>
                    <a:pt x="752" y="107"/>
                  </a:cubicBezTo>
                  <a:cubicBezTo>
                    <a:pt x="752" y="107"/>
                    <a:pt x="751" y="106"/>
                    <a:pt x="750" y="107"/>
                  </a:cubicBezTo>
                  <a:cubicBezTo>
                    <a:pt x="748" y="108"/>
                    <a:pt x="730" y="124"/>
                    <a:pt x="719" y="132"/>
                  </a:cubicBezTo>
                  <a:cubicBezTo>
                    <a:pt x="684" y="158"/>
                    <a:pt x="661" y="165"/>
                    <a:pt x="633" y="184"/>
                  </a:cubicBezTo>
                  <a:cubicBezTo>
                    <a:pt x="602" y="234"/>
                    <a:pt x="572" y="250"/>
                    <a:pt x="533" y="261"/>
                  </a:cubicBezTo>
                  <a:cubicBezTo>
                    <a:pt x="516" y="266"/>
                    <a:pt x="500" y="265"/>
                    <a:pt x="496" y="256"/>
                  </a:cubicBezTo>
                  <a:cubicBezTo>
                    <a:pt x="489" y="235"/>
                    <a:pt x="517" y="224"/>
                    <a:pt x="536" y="221"/>
                  </a:cubicBezTo>
                  <a:cubicBezTo>
                    <a:pt x="537" y="221"/>
                    <a:pt x="537" y="219"/>
                    <a:pt x="536" y="219"/>
                  </a:cubicBezTo>
                  <a:cubicBezTo>
                    <a:pt x="527" y="214"/>
                    <a:pt x="516" y="211"/>
                    <a:pt x="503" y="211"/>
                  </a:cubicBezTo>
                  <a:cubicBezTo>
                    <a:pt x="405" y="209"/>
                    <a:pt x="313" y="326"/>
                    <a:pt x="322" y="389"/>
                  </a:cubicBezTo>
                  <a:cubicBezTo>
                    <a:pt x="322" y="390"/>
                    <a:pt x="322" y="392"/>
                    <a:pt x="322" y="393"/>
                  </a:cubicBezTo>
                  <a:cubicBezTo>
                    <a:pt x="423" y="393"/>
                    <a:pt x="423" y="393"/>
                    <a:pt x="423" y="393"/>
                  </a:cubicBezTo>
                  <a:cubicBezTo>
                    <a:pt x="437" y="380"/>
                    <a:pt x="452" y="363"/>
                    <a:pt x="467" y="342"/>
                  </a:cubicBezTo>
                  <a:cubicBezTo>
                    <a:pt x="467" y="342"/>
                    <a:pt x="440" y="347"/>
                    <a:pt x="418" y="346"/>
                  </a:cubicBezTo>
                  <a:cubicBezTo>
                    <a:pt x="418" y="346"/>
                    <a:pt x="448" y="340"/>
                    <a:pt x="491" y="311"/>
                  </a:cubicBezTo>
                  <a:cubicBezTo>
                    <a:pt x="562" y="329"/>
                    <a:pt x="626" y="237"/>
                    <a:pt x="645" y="268"/>
                  </a:cubicBezTo>
                  <a:cubicBezTo>
                    <a:pt x="645" y="269"/>
                    <a:pt x="647" y="268"/>
                    <a:pt x="647" y="268"/>
                  </a:cubicBezTo>
                  <a:cubicBezTo>
                    <a:pt x="704" y="229"/>
                    <a:pt x="726" y="180"/>
                    <a:pt x="766" y="146"/>
                  </a:cubicBezTo>
                  <a:cubicBezTo>
                    <a:pt x="784" y="131"/>
                    <a:pt x="787" y="125"/>
                    <a:pt x="818" y="117"/>
                  </a:cubicBezTo>
                  <a:cubicBezTo>
                    <a:pt x="827" y="114"/>
                    <a:pt x="827" y="111"/>
                    <a:pt x="830" y="108"/>
                  </a:cubicBezTo>
                  <a:cubicBezTo>
                    <a:pt x="834" y="103"/>
                    <a:pt x="840" y="107"/>
                    <a:pt x="844" y="100"/>
                  </a:cubicBezTo>
                  <a:cubicBezTo>
                    <a:pt x="846" y="97"/>
                    <a:pt x="844" y="92"/>
                    <a:pt x="853" y="91"/>
                  </a:cubicBezTo>
                  <a:cubicBezTo>
                    <a:pt x="861" y="89"/>
                    <a:pt x="862" y="81"/>
                    <a:pt x="866" y="77"/>
                  </a:cubicBezTo>
                  <a:cubicBezTo>
                    <a:pt x="876" y="65"/>
                    <a:pt x="875" y="66"/>
                    <a:pt x="884" y="56"/>
                  </a:cubicBezTo>
                  <a:cubicBezTo>
                    <a:pt x="888" y="52"/>
                    <a:pt x="901" y="35"/>
                    <a:pt x="903" y="33"/>
                  </a:cubicBezTo>
                  <a:cubicBezTo>
                    <a:pt x="905" y="29"/>
                    <a:pt x="909" y="16"/>
                    <a:pt x="915" y="9"/>
                  </a:cubicBezTo>
                  <a:cubicBezTo>
                    <a:pt x="921" y="3"/>
                    <a:pt x="916" y="0"/>
                    <a:pt x="910" y="2"/>
                  </a:cubicBezTo>
                  <a:close/>
                  <a:moveTo>
                    <a:pt x="417" y="125"/>
                  </a:moveTo>
                  <a:cubicBezTo>
                    <a:pt x="418" y="125"/>
                    <a:pt x="419" y="125"/>
                    <a:pt x="420" y="124"/>
                  </a:cubicBezTo>
                  <a:cubicBezTo>
                    <a:pt x="422" y="122"/>
                    <a:pt x="425" y="119"/>
                    <a:pt x="425" y="117"/>
                  </a:cubicBezTo>
                  <a:cubicBezTo>
                    <a:pt x="425" y="113"/>
                    <a:pt x="419" y="107"/>
                    <a:pt x="409" y="107"/>
                  </a:cubicBezTo>
                  <a:cubicBezTo>
                    <a:pt x="405" y="106"/>
                    <a:pt x="404" y="107"/>
                    <a:pt x="401" y="109"/>
                  </a:cubicBezTo>
                  <a:cubicBezTo>
                    <a:pt x="398" y="113"/>
                    <a:pt x="401" y="121"/>
                    <a:pt x="402" y="123"/>
                  </a:cubicBezTo>
                  <a:cubicBezTo>
                    <a:pt x="410" y="123"/>
                    <a:pt x="415" y="125"/>
                    <a:pt x="417" y="125"/>
                  </a:cubicBezTo>
                  <a:close/>
                  <a:moveTo>
                    <a:pt x="343" y="106"/>
                  </a:moveTo>
                  <a:cubicBezTo>
                    <a:pt x="343" y="106"/>
                    <a:pt x="347" y="110"/>
                    <a:pt x="356" y="110"/>
                  </a:cubicBezTo>
                  <a:cubicBezTo>
                    <a:pt x="366" y="110"/>
                    <a:pt x="370" y="112"/>
                    <a:pt x="372" y="115"/>
                  </a:cubicBezTo>
                  <a:cubicBezTo>
                    <a:pt x="372" y="134"/>
                    <a:pt x="362" y="147"/>
                    <a:pt x="355" y="147"/>
                  </a:cubicBezTo>
                  <a:cubicBezTo>
                    <a:pt x="353" y="147"/>
                    <a:pt x="352" y="146"/>
                    <a:pt x="353" y="145"/>
                  </a:cubicBezTo>
                  <a:cubicBezTo>
                    <a:pt x="353" y="142"/>
                    <a:pt x="353" y="138"/>
                    <a:pt x="351" y="135"/>
                  </a:cubicBezTo>
                  <a:cubicBezTo>
                    <a:pt x="348" y="131"/>
                    <a:pt x="346" y="128"/>
                    <a:pt x="339" y="125"/>
                  </a:cubicBezTo>
                  <a:cubicBezTo>
                    <a:pt x="338" y="124"/>
                    <a:pt x="335" y="123"/>
                    <a:pt x="335" y="119"/>
                  </a:cubicBezTo>
                  <a:cubicBezTo>
                    <a:pt x="335" y="112"/>
                    <a:pt x="343" y="106"/>
                    <a:pt x="343" y="106"/>
                  </a:cubicBezTo>
                  <a:close/>
                  <a:moveTo>
                    <a:pt x="435" y="213"/>
                  </a:moveTo>
                  <a:cubicBezTo>
                    <a:pt x="437" y="212"/>
                    <a:pt x="437" y="211"/>
                    <a:pt x="435" y="211"/>
                  </a:cubicBezTo>
                  <a:cubicBezTo>
                    <a:pt x="410" y="214"/>
                    <a:pt x="385" y="223"/>
                    <a:pt x="361" y="234"/>
                  </a:cubicBezTo>
                  <a:cubicBezTo>
                    <a:pt x="360" y="232"/>
                    <a:pt x="360" y="231"/>
                    <a:pt x="360" y="227"/>
                  </a:cubicBezTo>
                  <a:cubicBezTo>
                    <a:pt x="360" y="220"/>
                    <a:pt x="361" y="209"/>
                    <a:pt x="369" y="209"/>
                  </a:cubicBezTo>
                  <a:cubicBezTo>
                    <a:pt x="387" y="209"/>
                    <a:pt x="397" y="199"/>
                    <a:pt x="397" y="199"/>
                  </a:cubicBezTo>
                  <a:cubicBezTo>
                    <a:pt x="397" y="199"/>
                    <a:pt x="370" y="195"/>
                    <a:pt x="372" y="183"/>
                  </a:cubicBezTo>
                  <a:cubicBezTo>
                    <a:pt x="373" y="180"/>
                    <a:pt x="375" y="178"/>
                    <a:pt x="378" y="179"/>
                  </a:cubicBezTo>
                  <a:cubicBezTo>
                    <a:pt x="388" y="181"/>
                    <a:pt x="392" y="172"/>
                    <a:pt x="392" y="172"/>
                  </a:cubicBezTo>
                  <a:cubicBezTo>
                    <a:pt x="392" y="172"/>
                    <a:pt x="382" y="170"/>
                    <a:pt x="378" y="167"/>
                  </a:cubicBezTo>
                  <a:cubicBezTo>
                    <a:pt x="377" y="166"/>
                    <a:pt x="376" y="165"/>
                    <a:pt x="377" y="163"/>
                  </a:cubicBezTo>
                  <a:cubicBezTo>
                    <a:pt x="379" y="162"/>
                    <a:pt x="381" y="160"/>
                    <a:pt x="384" y="161"/>
                  </a:cubicBezTo>
                  <a:cubicBezTo>
                    <a:pt x="392" y="163"/>
                    <a:pt x="397" y="164"/>
                    <a:pt x="400" y="164"/>
                  </a:cubicBezTo>
                  <a:cubicBezTo>
                    <a:pt x="402" y="164"/>
                    <a:pt x="403" y="162"/>
                    <a:pt x="401" y="162"/>
                  </a:cubicBezTo>
                  <a:cubicBezTo>
                    <a:pt x="398" y="160"/>
                    <a:pt x="394" y="156"/>
                    <a:pt x="388" y="153"/>
                  </a:cubicBezTo>
                  <a:cubicBezTo>
                    <a:pt x="397" y="148"/>
                    <a:pt x="403" y="140"/>
                    <a:pt x="403" y="140"/>
                  </a:cubicBezTo>
                  <a:cubicBezTo>
                    <a:pt x="403" y="140"/>
                    <a:pt x="400" y="141"/>
                    <a:pt x="396" y="139"/>
                  </a:cubicBezTo>
                  <a:cubicBezTo>
                    <a:pt x="390" y="136"/>
                    <a:pt x="390" y="109"/>
                    <a:pt x="386" y="103"/>
                  </a:cubicBezTo>
                  <a:cubicBezTo>
                    <a:pt x="382" y="96"/>
                    <a:pt x="374" y="90"/>
                    <a:pt x="369" y="88"/>
                  </a:cubicBezTo>
                  <a:cubicBezTo>
                    <a:pt x="362" y="85"/>
                    <a:pt x="356" y="84"/>
                    <a:pt x="353" y="81"/>
                  </a:cubicBezTo>
                  <a:cubicBezTo>
                    <a:pt x="347" y="75"/>
                    <a:pt x="357" y="39"/>
                    <a:pt x="319" y="39"/>
                  </a:cubicBezTo>
                  <a:cubicBezTo>
                    <a:pt x="295" y="39"/>
                    <a:pt x="279" y="58"/>
                    <a:pt x="275" y="77"/>
                  </a:cubicBezTo>
                  <a:cubicBezTo>
                    <a:pt x="274" y="84"/>
                    <a:pt x="275" y="91"/>
                    <a:pt x="275" y="91"/>
                  </a:cubicBezTo>
                  <a:cubicBezTo>
                    <a:pt x="275" y="91"/>
                    <a:pt x="295" y="87"/>
                    <a:pt x="302" y="107"/>
                  </a:cubicBezTo>
                  <a:cubicBezTo>
                    <a:pt x="296" y="101"/>
                    <a:pt x="290" y="98"/>
                    <a:pt x="288" y="98"/>
                  </a:cubicBezTo>
                  <a:cubicBezTo>
                    <a:pt x="281" y="97"/>
                    <a:pt x="276" y="101"/>
                    <a:pt x="275" y="108"/>
                  </a:cubicBezTo>
                  <a:cubicBezTo>
                    <a:pt x="271" y="128"/>
                    <a:pt x="291" y="145"/>
                    <a:pt x="293" y="147"/>
                  </a:cubicBezTo>
                  <a:cubicBezTo>
                    <a:pt x="289" y="187"/>
                    <a:pt x="307" y="212"/>
                    <a:pt x="308" y="244"/>
                  </a:cubicBezTo>
                  <a:cubicBezTo>
                    <a:pt x="309" y="265"/>
                    <a:pt x="295" y="274"/>
                    <a:pt x="292" y="276"/>
                  </a:cubicBezTo>
                  <a:cubicBezTo>
                    <a:pt x="275" y="293"/>
                    <a:pt x="271" y="300"/>
                    <a:pt x="266" y="314"/>
                  </a:cubicBezTo>
                  <a:cubicBezTo>
                    <a:pt x="266" y="303"/>
                    <a:pt x="269" y="289"/>
                    <a:pt x="278" y="272"/>
                  </a:cubicBezTo>
                  <a:cubicBezTo>
                    <a:pt x="279" y="271"/>
                    <a:pt x="279" y="270"/>
                    <a:pt x="277" y="271"/>
                  </a:cubicBezTo>
                  <a:cubicBezTo>
                    <a:pt x="269" y="275"/>
                    <a:pt x="254" y="284"/>
                    <a:pt x="248" y="289"/>
                  </a:cubicBezTo>
                  <a:cubicBezTo>
                    <a:pt x="242" y="296"/>
                    <a:pt x="235" y="302"/>
                    <a:pt x="229" y="309"/>
                  </a:cubicBezTo>
                  <a:cubicBezTo>
                    <a:pt x="220" y="312"/>
                    <a:pt x="205" y="318"/>
                    <a:pt x="186" y="332"/>
                  </a:cubicBezTo>
                  <a:cubicBezTo>
                    <a:pt x="170" y="343"/>
                    <a:pt x="160" y="364"/>
                    <a:pt x="160" y="364"/>
                  </a:cubicBezTo>
                  <a:cubicBezTo>
                    <a:pt x="160" y="364"/>
                    <a:pt x="143" y="363"/>
                    <a:pt x="119" y="365"/>
                  </a:cubicBezTo>
                  <a:cubicBezTo>
                    <a:pt x="67" y="369"/>
                    <a:pt x="0" y="393"/>
                    <a:pt x="0" y="393"/>
                  </a:cubicBezTo>
                  <a:cubicBezTo>
                    <a:pt x="267" y="393"/>
                    <a:pt x="267" y="393"/>
                    <a:pt x="267" y="393"/>
                  </a:cubicBezTo>
                  <a:cubicBezTo>
                    <a:pt x="272" y="323"/>
                    <a:pt x="364" y="236"/>
                    <a:pt x="435" y="213"/>
                  </a:cubicBezTo>
                  <a:close/>
                  <a:moveTo>
                    <a:pt x="756" y="99"/>
                  </a:moveTo>
                  <a:cubicBezTo>
                    <a:pt x="764" y="95"/>
                    <a:pt x="775" y="94"/>
                    <a:pt x="786" y="88"/>
                  </a:cubicBezTo>
                  <a:cubicBezTo>
                    <a:pt x="793" y="85"/>
                    <a:pt x="795" y="84"/>
                    <a:pt x="805" y="78"/>
                  </a:cubicBezTo>
                  <a:cubicBezTo>
                    <a:pt x="806" y="77"/>
                    <a:pt x="806" y="76"/>
                    <a:pt x="804" y="76"/>
                  </a:cubicBezTo>
                  <a:cubicBezTo>
                    <a:pt x="799" y="76"/>
                    <a:pt x="791" y="74"/>
                    <a:pt x="791" y="68"/>
                  </a:cubicBezTo>
                  <a:cubicBezTo>
                    <a:pt x="790" y="62"/>
                    <a:pt x="792" y="55"/>
                    <a:pt x="797" y="49"/>
                  </a:cubicBezTo>
                  <a:cubicBezTo>
                    <a:pt x="800" y="46"/>
                    <a:pt x="807" y="40"/>
                    <a:pt x="807" y="34"/>
                  </a:cubicBezTo>
                  <a:cubicBezTo>
                    <a:pt x="807" y="23"/>
                    <a:pt x="802" y="22"/>
                    <a:pt x="797" y="22"/>
                  </a:cubicBezTo>
                  <a:cubicBezTo>
                    <a:pt x="797" y="32"/>
                    <a:pt x="787" y="41"/>
                    <a:pt x="783" y="45"/>
                  </a:cubicBezTo>
                  <a:cubicBezTo>
                    <a:pt x="771" y="60"/>
                    <a:pt x="759" y="65"/>
                    <a:pt x="758" y="80"/>
                  </a:cubicBezTo>
                  <a:cubicBezTo>
                    <a:pt x="758" y="85"/>
                    <a:pt x="755" y="94"/>
                    <a:pt x="754" y="98"/>
                  </a:cubicBezTo>
                  <a:cubicBezTo>
                    <a:pt x="754" y="100"/>
                    <a:pt x="755" y="100"/>
                    <a:pt x="756" y="99"/>
                  </a:cubicBezTo>
                  <a:close/>
                </a:path>
              </a:pathLst>
            </a:custGeom>
            <a:blipFill dpi="0" rotWithShape="1">
              <a:blip r:embed="rId3"/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9" name="Group 33"/>
            <p:cNvGrpSpPr/>
            <p:nvPr/>
          </p:nvGrpSpPr>
          <p:grpSpPr bwMode="black">
            <a:xfrm>
              <a:off x="1430338" y="-1666875"/>
              <a:ext cx="4968876" cy="7239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30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cxnSp>
        <p:nvCxnSpPr>
          <p:cNvPr id="40" name="Straight Connector 39"/>
          <p:cNvCxnSpPr/>
          <p:nvPr userDrawn="1"/>
        </p:nvCxnSpPr>
        <p:spPr bwMode="black">
          <a:xfrm>
            <a:off x="0" y="2372940"/>
            <a:ext cx="9144000" cy="0"/>
          </a:xfrm>
          <a:prstGeom prst="line">
            <a:avLst/>
          </a:prstGeom>
          <a:ln w="6350">
            <a:solidFill>
              <a:srgbClr val="005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359999" y="360000"/>
            <a:ext cx="7298101" cy="1080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ts val="3000"/>
              </a:lnSpc>
              <a:spcBef>
                <a:spcPts val="0"/>
              </a:spcBef>
              <a:defRPr lang="en-GB" sz="3000" b="1" kern="0">
                <a:solidFill>
                  <a:srgbClr val="00519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360001" y="1476000"/>
            <a:ext cx="5004162" cy="648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14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802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white">
          <a:xfrm>
            <a:off x="0" y="-1"/>
            <a:ext cx="9144000" cy="32233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3" name="Group 22"/>
          <p:cNvGrpSpPr>
            <a:grpSpLocks noChangeAspect="1"/>
          </p:cNvGrpSpPr>
          <p:nvPr userDrawn="1"/>
        </p:nvGrpSpPr>
        <p:grpSpPr bwMode="black">
          <a:xfrm>
            <a:off x="5619754" y="1571340"/>
            <a:ext cx="3228853" cy="806400"/>
            <a:chOff x="1427163" y="-1920875"/>
            <a:chExt cx="7881938" cy="1476375"/>
          </a:xfrm>
        </p:grpSpPr>
        <p:sp>
          <p:nvSpPr>
            <p:cNvPr id="24" name="AutoShape 21"/>
            <p:cNvSpPr>
              <a:spLocks noChangeAspect="1" noChangeArrowheads="1" noTextEdit="1"/>
            </p:cNvSpPr>
            <p:nvPr/>
          </p:nvSpPr>
          <p:spPr bwMode="black">
            <a:xfrm>
              <a:off x="1427163" y="-1917700"/>
              <a:ext cx="7874000" cy="1473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Freeform 23"/>
            <p:cNvSpPr>
              <a:spLocks noEditPoints="1"/>
            </p:cNvSpPr>
            <p:nvPr/>
          </p:nvSpPr>
          <p:spPr bwMode="black">
            <a:xfrm>
              <a:off x="5854701" y="-1920875"/>
              <a:ext cx="3454400" cy="1473200"/>
            </a:xfrm>
            <a:custGeom>
              <a:avLst/>
              <a:gdLst/>
              <a:ahLst/>
              <a:cxnLst>
                <a:cxn ang="0">
                  <a:pos x="898" y="12"/>
                </a:cxn>
                <a:cxn ang="0">
                  <a:pos x="882" y="34"/>
                </a:cxn>
                <a:cxn ang="0">
                  <a:pos x="865" y="65"/>
                </a:cxn>
                <a:cxn ang="0">
                  <a:pos x="872" y="23"/>
                </a:cxn>
                <a:cxn ang="0">
                  <a:pos x="869" y="1"/>
                </a:cxn>
                <a:cxn ang="0">
                  <a:pos x="857" y="38"/>
                </a:cxn>
                <a:cxn ang="0">
                  <a:pos x="848" y="76"/>
                </a:cxn>
                <a:cxn ang="0">
                  <a:pos x="845" y="17"/>
                </a:cxn>
                <a:cxn ang="0">
                  <a:pos x="833" y="31"/>
                </a:cxn>
                <a:cxn ang="0">
                  <a:pos x="834" y="63"/>
                </a:cxn>
                <a:cxn ang="0">
                  <a:pos x="832" y="59"/>
                </a:cxn>
                <a:cxn ang="0">
                  <a:pos x="818" y="33"/>
                </a:cxn>
                <a:cxn ang="0">
                  <a:pos x="819" y="69"/>
                </a:cxn>
                <a:cxn ang="0">
                  <a:pos x="798" y="105"/>
                </a:cxn>
                <a:cxn ang="0">
                  <a:pos x="750" y="107"/>
                </a:cxn>
                <a:cxn ang="0">
                  <a:pos x="633" y="184"/>
                </a:cxn>
                <a:cxn ang="0">
                  <a:pos x="496" y="256"/>
                </a:cxn>
                <a:cxn ang="0">
                  <a:pos x="536" y="219"/>
                </a:cxn>
                <a:cxn ang="0">
                  <a:pos x="322" y="389"/>
                </a:cxn>
                <a:cxn ang="0">
                  <a:pos x="423" y="393"/>
                </a:cxn>
                <a:cxn ang="0">
                  <a:pos x="418" y="346"/>
                </a:cxn>
                <a:cxn ang="0">
                  <a:pos x="645" y="268"/>
                </a:cxn>
                <a:cxn ang="0">
                  <a:pos x="766" y="146"/>
                </a:cxn>
                <a:cxn ang="0">
                  <a:pos x="830" y="108"/>
                </a:cxn>
                <a:cxn ang="0">
                  <a:pos x="853" y="91"/>
                </a:cxn>
                <a:cxn ang="0">
                  <a:pos x="884" y="56"/>
                </a:cxn>
                <a:cxn ang="0">
                  <a:pos x="915" y="9"/>
                </a:cxn>
                <a:cxn ang="0">
                  <a:pos x="417" y="125"/>
                </a:cxn>
                <a:cxn ang="0">
                  <a:pos x="425" y="117"/>
                </a:cxn>
                <a:cxn ang="0">
                  <a:pos x="401" y="109"/>
                </a:cxn>
                <a:cxn ang="0">
                  <a:pos x="417" y="125"/>
                </a:cxn>
                <a:cxn ang="0">
                  <a:pos x="356" y="110"/>
                </a:cxn>
                <a:cxn ang="0">
                  <a:pos x="355" y="147"/>
                </a:cxn>
                <a:cxn ang="0">
                  <a:pos x="351" y="135"/>
                </a:cxn>
                <a:cxn ang="0">
                  <a:pos x="335" y="119"/>
                </a:cxn>
                <a:cxn ang="0">
                  <a:pos x="435" y="213"/>
                </a:cxn>
                <a:cxn ang="0">
                  <a:pos x="361" y="234"/>
                </a:cxn>
                <a:cxn ang="0">
                  <a:pos x="369" y="209"/>
                </a:cxn>
                <a:cxn ang="0">
                  <a:pos x="372" y="183"/>
                </a:cxn>
                <a:cxn ang="0">
                  <a:pos x="392" y="172"/>
                </a:cxn>
                <a:cxn ang="0">
                  <a:pos x="377" y="163"/>
                </a:cxn>
                <a:cxn ang="0">
                  <a:pos x="400" y="164"/>
                </a:cxn>
                <a:cxn ang="0">
                  <a:pos x="388" y="153"/>
                </a:cxn>
                <a:cxn ang="0">
                  <a:pos x="396" y="139"/>
                </a:cxn>
                <a:cxn ang="0">
                  <a:pos x="369" y="88"/>
                </a:cxn>
                <a:cxn ang="0">
                  <a:pos x="319" y="39"/>
                </a:cxn>
                <a:cxn ang="0">
                  <a:pos x="275" y="91"/>
                </a:cxn>
                <a:cxn ang="0">
                  <a:pos x="288" y="98"/>
                </a:cxn>
                <a:cxn ang="0">
                  <a:pos x="293" y="147"/>
                </a:cxn>
                <a:cxn ang="0">
                  <a:pos x="292" y="276"/>
                </a:cxn>
                <a:cxn ang="0">
                  <a:pos x="278" y="272"/>
                </a:cxn>
                <a:cxn ang="0">
                  <a:pos x="248" y="289"/>
                </a:cxn>
                <a:cxn ang="0">
                  <a:pos x="186" y="332"/>
                </a:cxn>
                <a:cxn ang="0">
                  <a:pos x="119" y="365"/>
                </a:cxn>
                <a:cxn ang="0">
                  <a:pos x="267" y="393"/>
                </a:cxn>
                <a:cxn ang="0">
                  <a:pos x="756" y="99"/>
                </a:cxn>
                <a:cxn ang="0">
                  <a:pos x="805" y="78"/>
                </a:cxn>
                <a:cxn ang="0">
                  <a:pos x="791" y="68"/>
                </a:cxn>
                <a:cxn ang="0">
                  <a:pos x="807" y="34"/>
                </a:cxn>
                <a:cxn ang="0">
                  <a:pos x="783" y="45"/>
                </a:cxn>
                <a:cxn ang="0">
                  <a:pos x="754" y="98"/>
                </a:cxn>
              </a:cxnLst>
              <a:rect l="0" t="0" r="r" b="b"/>
              <a:pathLst>
                <a:path w="921" h="393">
                  <a:moveTo>
                    <a:pt x="910" y="2"/>
                  </a:moveTo>
                  <a:cubicBezTo>
                    <a:pt x="906" y="3"/>
                    <a:pt x="902" y="6"/>
                    <a:pt x="898" y="12"/>
                  </a:cubicBezTo>
                  <a:cubicBezTo>
                    <a:pt x="896" y="14"/>
                    <a:pt x="892" y="21"/>
                    <a:pt x="890" y="26"/>
                  </a:cubicBezTo>
                  <a:cubicBezTo>
                    <a:pt x="886" y="29"/>
                    <a:pt x="885" y="31"/>
                    <a:pt x="882" y="34"/>
                  </a:cubicBezTo>
                  <a:cubicBezTo>
                    <a:pt x="879" y="37"/>
                    <a:pt x="875" y="42"/>
                    <a:pt x="874" y="43"/>
                  </a:cubicBezTo>
                  <a:cubicBezTo>
                    <a:pt x="872" y="50"/>
                    <a:pt x="865" y="65"/>
                    <a:pt x="865" y="65"/>
                  </a:cubicBezTo>
                  <a:cubicBezTo>
                    <a:pt x="866" y="58"/>
                    <a:pt x="872" y="41"/>
                    <a:pt x="873" y="37"/>
                  </a:cubicBezTo>
                  <a:cubicBezTo>
                    <a:pt x="874" y="33"/>
                    <a:pt x="872" y="27"/>
                    <a:pt x="872" y="23"/>
                  </a:cubicBezTo>
                  <a:cubicBezTo>
                    <a:pt x="871" y="19"/>
                    <a:pt x="871" y="15"/>
                    <a:pt x="871" y="12"/>
                  </a:cubicBezTo>
                  <a:cubicBezTo>
                    <a:pt x="871" y="10"/>
                    <a:pt x="873" y="0"/>
                    <a:pt x="869" y="1"/>
                  </a:cubicBezTo>
                  <a:cubicBezTo>
                    <a:pt x="866" y="1"/>
                    <a:pt x="860" y="3"/>
                    <a:pt x="858" y="12"/>
                  </a:cubicBezTo>
                  <a:cubicBezTo>
                    <a:pt x="857" y="18"/>
                    <a:pt x="858" y="27"/>
                    <a:pt x="857" y="38"/>
                  </a:cubicBezTo>
                  <a:cubicBezTo>
                    <a:pt x="857" y="40"/>
                    <a:pt x="855" y="43"/>
                    <a:pt x="854" y="50"/>
                  </a:cubicBezTo>
                  <a:cubicBezTo>
                    <a:pt x="852" y="57"/>
                    <a:pt x="850" y="68"/>
                    <a:pt x="848" y="76"/>
                  </a:cubicBezTo>
                  <a:cubicBezTo>
                    <a:pt x="848" y="73"/>
                    <a:pt x="851" y="56"/>
                    <a:pt x="851" y="49"/>
                  </a:cubicBezTo>
                  <a:cubicBezTo>
                    <a:pt x="852" y="42"/>
                    <a:pt x="846" y="20"/>
                    <a:pt x="845" y="17"/>
                  </a:cubicBezTo>
                  <a:cubicBezTo>
                    <a:pt x="845" y="14"/>
                    <a:pt x="844" y="13"/>
                    <a:pt x="842" y="13"/>
                  </a:cubicBezTo>
                  <a:cubicBezTo>
                    <a:pt x="837" y="12"/>
                    <a:pt x="832" y="20"/>
                    <a:pt x="833" y="31"/>
                  </a:cubicBezTo>
                  <a:cubicBezTo>
                    <a:pt x="834" y="34"/>
                    <a:pt x="838" y="44"/>
                    <a:pt x="838" y="49"/>
                  </a:cubicBezTo>
                  <a:cubicBezTo>
                    <a:pt x="837" y="54"/>
                    <a:pt x="835" y="60"/>
                    <a:pt x="834" y="63"/>
                  </a:cubicBezTo>
                  <a:cubicBezTo>
                    <a:pt x="834" y="70"/>
                    <a:pt x="833" y="80"/>
                    <a:pt x="832" y="85"/>
                  </a:cubicBezTo>
                  <a:cubicBezTo>
                    <a:pt x="833" y="81"/>
                    <a:pt x="832" y="62"/>
                    <a:pt x="832" y="59"/>
                  </a:cubicBezTo>
                  <a:cubicBezTo>
                    <a:pt x="831" y="56"/>
                    <a:pt x="826" y="43"/>
                    <a:pt x="823" y="35"/>
                  </a:cubicBezTo>
                  <a:cubicBezTo>
                    <a:pt x="822" y="32"/>
                    <a:pt x="820" y="32"/>
                    <a:pt x="818" y="33"/>
                  </a:cubicBezTo>
                  <a:cubicBezTo>
                    <a:pt x="812" y="36"/>
                    <a:pt x="812" y="47"/>
                    <a:pt x="813" y="52"/>
                  </a:cubicBezTo>
                  <a:cubicBezTo>
                    <a:pt x="814" y="54"/>
                    <a:pt x="817" y="62"/>
                    <a:pt x="819" y="69"/>
                  </a:cubicBezTo>
                  <a:cubicBezTo>
                    <a:pt x="815" y="100"/>
                    <a:pt x="808" y="102"/>
                    <a:pt x="808" y="102"/>
                  </a:cubicBezTo>
                  <a:cubicBezTo>
                    <a:pt x="808" y="102"/>
                    <a:pt x="806" y="104"/>
                    <a:pt x="798" y="105"/>
                  </a:cubicBezTo>
                  <a:cubicBezTo>
                    <a:pt x="784" y="108"/>
                    <a:pt x="759" y="114"/>
                    <a:pt x="752" y="107"/>
                  </a:cubicBezTo>
                  <a:cubicBezTo>
                    <a:pt x="752" y="107"/>
                    <a:pt x="751" y="106"/>
                    <a:pt x="750" y="107"/>
                  </a:cubicBezTo>
                  <a:cubicBezTo>
                    <a:pt x="748" y="108"/>
                    <a:pt x="730" y="124"/>
                    <a:pt x="719" y="132"/>
                  </a:cubicBezTo>
                  <a:cubicBezTo>
                    <a:pt x="684" y="158"/>
                    <a:pt x="661" y="165"/>
                    <a:pt x="633" y="184"/>
                  </a:cubicBezTo>
                  <a:cubicBezTo>
                    <a:pt x="602" y="234"/>
                    <a:pt x="572" y="250"/>
                    <a:pt x="533" y="261"/>
                  </a:cubicBezTo>
                  <a:cubicBezTo>
                    <a:pt x="516" y="266"/>
                    <a:pt x="500" y="265"/>
                    <a:pt x="496" y="256"/>
                  </a:cubicBezTo>
                  <a:cubicBezTo>
                    <a:pt x="489" y="235"/>
                    <a:pt x="517" y="224"/>
                    <a:pt x="536" y="221"/>
                  </a:cubicBezTo>
                  <a:cubicBezTo>
                    <a:pt x="537" y="221"/>
                    <a:pt x="537" y="219"/>
                    <a:pt x="536" y="219"/>
                  </a:cubicBezTo>
                  <a:cubicBezTo>
                    <a:pt x="527" y="214"/>
                    <a:pt x="516" y="211"/>
                    <a:pt x="503" y="211"/>
                  </a:cubicBezTo>
                  <a:cubicBezTo>
                    <a:pt x="405" y="209"/>
                    <a:pt x="313" y="326"/>
                    <a:pt x="322" y="389"/>
                  </a:cubicBezTo>
                  <a:cubicBezTo>
                    <a:pt x="322" y="390"/>
                    <a:pt x="322" y="392"/>
                    <a:pt x="322" y="393"/>
                  </a:cubicBezTo>
                  <a:cubicBezTo>
                    <a:pt x="423" y="393"/>
                    <a:pt x="423" y="393"/>
                    <a:pt x="423" y="393"/>
                  </a:cubicBezTo>
                  <a:cubicBezTo>
                    <a:pt x="437" y="380"/>
                    <a:pt x="452" y="363"/>
                    <a:pt x="467" y="342"/>
                  </a:cubicBezTo>
                  <a:cubicBezTo>
                    <a:pt x="467" y="342"/>
                    <a:pt x="440" y="347"/>
                    <a:pt x="418" y="346"/>
                  </a:cubicBezTo>
                  <a:cubicBezTo>
                    <a:pt x="418" y="346"/>
                    <a:pt x="448" y="340"/>
                    <a:pt x="491" y="311"/>
                  </a:cubicBezTo>
                  <a:cubicBezTo>
                    <a:pt x="562" y="329"/>
                    <a:pt x="626" y="237"/>
                    <a:pt x="645" y="268"/>
                  </a:cubicBezTo>
                  <a:cubicBezTo>
                    <a:pt x="645" y="269"/>
                    <a:pt x="647" y="268"/>
                    <a:pt x="647" y="268"/>
                  </a:cubicBezTo>
                  <a:cubicBezTo>
                    <a:pt x="704" y="229"/>
                    <a:pt x="726" y="180"/>
                    <a:pt x="766" y="146"/>
                  </a:cubicBezTo>
                  <a:cubicBezTo>
                    <a:pt x="784" y="131"/>
                    <a:pt x="787" y="125"/>
                    <a:pt x="818" y="117"/>
                  </a:cubicBezTo>
                  <a:cubicBezTo>
                    <a:pt x="827" y="114"/>
                    <a:pt x="827" y="111"/>
                    <a:pt x="830" y="108"/>
                  </a:cubicBezTo>
                  <a:cubicBezTo>
                    <a:pt x="834" y="103"/>
                    <a:pt x="840" y="107"/>
                    <a:pt x="844" y="100"/>
                  </a:cubicBezTo>
                  <a:cubicBezTo>
                    <a:pt x="846" y="97"/>
                    <a:pt x="844" y="92"/>
                    <a:pt x="853" y="91"/>
                  </a:cubicBezTo>
                  <a:cubicBezTo>
                    <a:pt x="861" y="89"/>
                    <a:pt x="862" y="81"/>
                    <a:pt x="866" y="77"/>
                  </a:cubicBezTo>
                  <a:cubicBezTo>
                    <a:pt x="876" y="65"/>
                    <a:pt x="875" y="66"/>
                    <a:pt x="884" y="56"/>
                  </a:cubicBezTo>
                  <a:cubicBezTo>
                    <a:pt x="888" y="52"/>
                    <a:pt x="901" y="35"/>
                    <a:pt x="903" y="33"/>
                  </a:cubicBezTo>
                  <a:cubicBezTo>
                    <a:pt x="905" y="29"/>
                    <a:pt x="909" y="16"/>
                    <a:pt x="915" y="9"/>
                  </a:cubicBezTo>
                  <a:cubicBezTo>
                    <a:pt x="921" y="3"/>
                    <a:pt x="916" y="0"/>
                    <a:pt x="910" y="2"/>
                  </a:cubicBezTo>
                  <a:close/>
                  <a:moveTo>
                    <a:pt x="417" y="125"/>
                  </a:moveTo>
                  <a:cubicBezTo>
                    <a:pt x="418" y="125"/>
                    <a:pt x="419" y="125"/>
                    <a:pt x="420" y="124"/>
                  </a:cubicBezTo>
                  <a:cubicBezTo>
                    <a:pt x="422" y="122"/>
                    <a:pt x="425" y="119"/>
                    <a:pt x="425" y="117"/>
                  </a:cubicBezTo>
                  <a:cubicBezTo>
                    <a:pt x="425" y="113"/>
                    <a:pt x="419" y="107"/>
                    <a:pt x="409" y="107"/>
                  </a:cubicBezTo>
                  <a:cubicBezTo>
                    <a:pt x="405" y="106"/>
                    <a:pt x="404" y="107"/>
                    <a:pt x="401" y="109"/>
                  </a:cubicBezTo>
                  <a:cubicBezTo>
                    <a:pt x="398" y="113"/>
                    <a:pt x="401" y="121"/>
                    <a:pt x="402" y="123"/>
                  </a:cubicBezTo>
                  <a:cubicBezTo>
                    <a:pt x="410" y="123"/>
                    <a:pt x="415" y="125"/>
                    <a:pt x="417" y="125"/>
                  </a:cubicBezTo>
                  <a:close/>
                  <a:moveTo>
                    <a:pt x="343" y="106"/>
                  </a:moveTo>
                  <a:cubicBezTo>
                    <a:pt x="343" y="106"/>
                    <a:pt x="347" y="110"/>
                    <a:pt x="356" y="110"/>
                  </a:cubicBezTo>
                  <a:cubicBezTo>
                    <a:pt x="366" y="110"/>
                    <a:pt x="370" y="112"/>
                    <a:pt x="372" y="115"/>
                  </a:cubicBezTo>
                  <a:cubicBezTo>
                    <a:pt x="372" y="134"/>
                    <a:pt x="362" y="147"/>
                    <a:pt x="355" y="147"/>
                  </a:cubicBezTo>
                  <a:cubicBezTo>
                    <a:pt x="353" y="147"/>
                    <a:pt x="352" y="146"/>
                    <a:pt x="353" y="145"/>
                  </a:cubicBezTo>
                  <a:cubicBezTo>
                    <a:pt x="353" y="142"/>
                    <a:pt x="353" y="138"/>
                    <a:pt x="351" y="135"/>
                  </a:cubicBezTo>
                  <a:cubicBezTo>
                    <a:pt x="348" y="131"/>
                    <a:pt x="346" y="128"/>
                    <a:pt x="339" y="125"/>
                  </a:cubicBezTo>
                  <a:cubicBezTo>
                    <a:pt x="338" y="124"/>
                    <a:pt x="335" y="123"/>
                    <a:pt x="335" y="119"/>
                  </a:cubicBezTo>
                  <a:cubicBezTo>
                    <a:pt x="335" y="112"/>
                    <a:pt x="343" y="106"/>
                    <a:pt x="343" y="106"/>
                  </a:cubicBezTo>
                  <a:close/>
                  <a:moveTo>
                    <a:pt x="435" y="213"/>
                  </a:moveTo>
                  <a:cubicBezTo>
                    <a:pt x="437" y="212"/>
                    <a:pt x="437" y="211"/>
                    <a:pt x="435" y="211"/>
                  </a:cubicBezTo>
                  <a:cubicBezTo>
                    <a:pt x="410" y="214"/>
                    <a:pt x="385" y="223"/>
                    <a:pt x="361" y="234"/>
                  </a:cubicBezTo>
                  <a:cubicBezTo>
                    <a:pt x="360" y="232"/>
                    <a:pt x="360" y="231"/>
                    <a:pt x="360" y="227"/>
                  </a:cubicBezTo>
                  <a:cubicBezTo>
                    <a:pt x="360" y="220"/>
                    <a:pt x="361" y="209"/>
                    <a:pt x="369" y="209"/>
                  </a:cubicBezTo>
                  <a:cubicBezTo>
                    <a:pt x="387" y="209"/>
                    <a:pt x="397" y="199"/>
                    <a:pt x="397" y="199"/>
                  </a:cubicBezTo>
                  <a:cubicBezTo>
                    <a:pt x="397" y="199"/>
                    <a:pt x="370" y="195"/>
                    <a:pt x="372" y="183"/>
                  </a:cubicBezTo>
                  <a:cubicBezTo>
                    <a:pt x="373" y="180"/>
                    <a:pt x="375" y="178"/>
                    <a:pt x="378" y="179"/>
                  </a:cubicBezTo>
                  <a:cubicBezTo>
                    <a:pt x="388" y="181"/>
                    <a:pt x="392" y="172"/>
                    <a:pt x="392" y="172"/>
                  </a:cubicBezTo>
                  <a:cubicBezTo>
                    <a:pt x="392" y="172"/>
                    <a:pt x="382" y="170"/>
                    <a:pt x="378" y="167"/>
                  </a:cubicBezTo>
                  <a:cubicBezTo>
                    <a:pt x="377" y="166"/>
                    <a:pt x="376" y="165"/>
                    <a:pt x="377" y="163"/>
                  </a:cubicBezTo>
                  <a:cubicBezTo>
                    <a:pt x="379" y="162"/>
                    <a:pt x="381" y="160"/>
                    <a:pt x="384" y="161"/>
                  </a:cubicBezTo>
                  <a:cubicBezTo>
                    <a:pt x="392" y="163"/>
                    <a:pt x="397" y="164"/>
                    <a:pt x="400" y="164"/>
                  </a:cubicBezTo>
                  <a:cubicBezTo>
                    <a:pt x="402" y="164"/>
                    <a:pt x="403" y="162"/>
                    <a:pt x="401" y="162"/>
                  </a:cubicBezTo>
                  <a:cubicBezTo>
                    <a:pt x="398" y="160"/>
                    <a:pt x="394" y="156"/>
                    <a:pt x="388" y="153"/>
                  </a:cubicBezTo>
                  <a:cubicBezTo>
                    <a:pt x="397" y="148"/>
                    <a:pt x="403" y="140"/>
                    <a:pt x="403" y="140"/>
                  </a:cubicBezTo>
                  <a:cubicBezTo>
                    <a:pt x="403" y="140"/>
                    <a:pt x="400" y="141"/>
                    <a:pt x="396" y="139"/>
                  </a:cubicBezTo>
                  <a:cubicBezTo>
                    <a:pt x="390" y="136"/>
                    <a:pt x="390" y="109"/>
                    <a:pt x="386" y="103"/>
                  </a:cubicBezTo>
                  <a:cubicBezTo>
                    <a:pt x="382" y="96"/>
                    <a:pt x="374" y="90"/>
                    <a:pt x="369" y="88"/>
                  </a:cubicBezTo>
                  <a:cubicBezTo>
                    <a:pt x="362" y="85"/>
                    <a:pt x="356" y="84"/>
                    <a:pt x="353" y="81"/>
                  </a:cubicBezTo>
                  <a:cubicBezTo>
                    <a:pt x="347" y="75"/>
                    <a:pt x="357" y="39"/>
                    <a:pt x="319" y="39"/>
                  </a:cubicBezTo>
                  <a:cubicBezTo>
                    <a:pt x="295" y="39"/>
                    <a:pt x="279" y="58"/>
                    <a:pt x="275" y="77"/>
                  </a:cubicBezTo>
                  <a:cubicBezTo>
                    <a:pt x="274" y="84"/>
                    <a:pt x="275" y="91"/>
                    <a:pt x="275" y="91"/>
                  </a:cubicBezTo>
                  <a:cubicBezTo>
                    <a:pt x="275" y="91"/>
                    <a:pt x="295" y="87"/>
                    <a:pt x="302" y="107"/>
                  </a:cubicBezTo>
                  <a:cubicBezTo>
                    <a:pt x="296" y="101"/>
                    <a:pt x="290" y="98"/>
                    <a:pt x="288" y="98"/>
                  </a:cubicBezTo>
                  <a:cubicBezTo>
                    <a:pt x="281" y="97"/>
                    <a:pt x="276" y="101"/>
                    <a:pt x="275" y="108"/>
                  </a:cubicBezTo>
                  <a:cubicBezTo>
                    <a:pt x="271" y="128"/>
                    <a:pt x="291" y="145"/>
                    <a:pt x="293" y="147"/>
                  </a:cubicBezTo>
                  <a:cubicBezTo>
                    <a:pt x="289" y="187"/>
                    <a:pt x="307" y="212"/>
                    <a:pt x="308" y="244"/>
                  </a:cubicBezTo>
                  <a:cubicBezTo>
                    <a:pt x="309" y="265"/>
                    <a:pt x="295" y="274"/>
                    <a:pt x="292" y="276"/>
                  </a:cubicBezTo>
                  <a:cubicBezTo>
                    <a:pt x="275" y="293"/>
                    <a:pt x="271" y="300"/>
                    <a:pt x="266" y="314"/>
                  </a:cubicBezTo>
                  <a:cubicBezTo>
                    <a:pt x="266" y="303"/>
                    <a:pt x="269" y="289"/>
                    <a:pt x="278" y="272"/>
                  </a:cubicBezTo>
                  <a:cubicBezTo>
                    <a:pt x="279" y="271"/>
                    <a:pt x="279" y="270"/>
                    <a:pt x="277" y="271"/>
                  </a:cubicBezTo>
                  <a:cubicBezTo>
                    <a:pt x="269" y="275"/>
                    <a:pt x="254" y="284"/>
                    <a:pt x="248" y="289"/>
                  </a:cubicBezTo>
                  <a:cubicBezTo>
                    <a:pt x="242" y="296"/>
                    <a:pt x="235" y="302"/>
                    <a:pt x="229" y="309"/>
                  </a:cubicBezTo>
                  <a:cubicBezTo>
                    <a:pt x="220" y="312"/>
                    <a:pt x="205" y="318"/>
                    <a:pt x="186" y="332"/>
                  </a:cubicBezTo>
                  <a:cubicBezTo>
                    <a:pt x="170" y="343"/>
                    <a:pt x="160" y="364"/>
                    <a:pt x="160" y="364"/>
                  </a:cubicBezTo>
                  <a:cubicBezTo>
                    <a:pt x="160" y="364"/>
                    <a:pt x="143" y="363"/>
                    <a:pt x="119" y="365"/>
                  </a:cubicBezTo>
                  <a:cubicBezTo>
                    <a:pt x="67" y="369"/>
                    <a:pt x="0" y="393"/>
                    <a:pt x="0" y="393"/>
                  </a:cubicBezTo>
                  <a:cubicBezTo>
                    <a:pt x="267" y="393"/>
                    <a:pt x="267" y="393"/>
                    <a:pt x="267" y="393"/>
                  </a:cubicBezTo>
                  <a:cubicBezTo>
                    <a:pt x="272" y="323"/>
                    <a:pt x="364" y="236"/>
                    <a:pt x="435" y="213"/>
                  </a:cubicBezTo>
                  <a:close/>
                  <a:moveTo>
                    <a:pt x="756" y="99"/>
                  </a:moveTo>
                  <a:cubicBezTo>
                    <a:pt x="764" y="95"/>
                    <a:pt x="775" y="94"/>
                    <a:pt x="786" y="88"/>
                  </a:cubicBezTo>
                  <a:cubicBezTo>
                    <a:pt x="793" y="85"/>
                    <a:pt x="795" y="84"/>
                    <a:pt x="805" y="78"/>
                  </a:cubicBezTo>
                  <a:cubicBezTo>
                    <a:pt x="806" y="77"/>
                    <a:pt x="806" y="76"/>
                    <a:pt x="804" y="76"/>
                  </a:cubicBezTo>
                  <a:cubicBezTo>
                    <a:pt x="799" y="76"/>
                    <a:pt x="791" y="74"/>
                    <a:pt x="791" y="68"/>
                  </a:cubicBezTo>
                  <a:cubicBezTo>
                    <a:pt x="790" y="62"/>
                    <a:pt x="792" y="55"/>
                    <a:pt x="797" y="49"/>
                  </a:cubicBezTo>
                  <a:cubicBezTo>
                    <a:pt x="800" y="46"/>
                    <a:pt x="807" y="40"/>
                    <a:pt x="807" y="34"/>
                  </a:cubicBezTo>
                  <a:cubicBezTo>
                    <a:pt x="807" y="23"/>
                    <a:pt x="802" y="22"/>
                    <a:pt x="797" y="22"/>
                  </a:cubicBezTo>
                  <a:cubicBezTo>
                    <a:pt x="797" y="32"/>
                    <a:pt x="787" y="41"/>
                    <a:pt x="783" y="45"/>
                  </a:cubicBezTo>
                  <a:cubicBezTo>
                    <a:pt x="771" y="60"/>
                    <a:pt x="759" y="65"/>
                    <a:pt x="758" y="80"/>
                  </a:cubicBezTo>
                  <a:cubicBezTo>
                    <a:pt x="758" y="85"/>
                    <a:pt x="755" y="94"/>
                    <a:pt x="754" y="98"/>
                  </a:cubicBezTo>
                  <a:cubicBezTo>
                    <a:pt x="754" y="100"/>
                    <a:pt x="755" y="100"/>
                    <a:pt x="756" y="99"/>
                  </a:cubicBezTo>
                  <a:close/>
                </a:path>
              </a:pathLst>
            </a:custGeom>
            <a:blipFill dpi="0" rotWithShape="1">
              <a:blip r:embed="rId2"/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6" name="Group 33"/>
            <p:cNvGrpSpPr/>
            <p:nvPr/>
          </p:nvGrpSpPr>
          <p:grpSpPr bwMode="black">
            <a:xfrm>
              <a:off x="1430338" y="-1666875"/>
              <a:ext cx="4968876" cy="7239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27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cxnSp>
        <p:nvCxnSpPr>
          <p:cNvPr id="37" name="Straight Connector 36"/>
          <p:cNvCxnSpPr/>
          <p:nvPr userDrawn="1"/>
        </p:nvCxnSpPr>
        <p:spPr bwMode="black">
          <a:xfrm>
            <a:off x="0" y="2372940"/>
            <a:ext cx="9144000" cy="0"/>
          </a:xfrm>
          <a:prstGeom prst="line">
            <a:avLst/>
          </a:prstGeom>
          <a:ln w="6350">
            <a:solidFill>
              <a:srgbClr val="005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359999" y="360000"/>
            <a:ext cx="7298101" cy="1080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ts val="3000"/>
              </a:lnSpc>
              <a:spcBef>
                <a:spcPts val="0"/>
              </a:spcBef>
              <a:defRPr lang="en-GB" sz="3000" b="1" kern="0">
                <a:solidFill>
                  <a:srgbClr val="00519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360001" y="1476000"/>
            <a:ext cx="5004162" cy="648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14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0"/>
          </p:nvPr>
        </p:nvSpPr>
        <p:spPr>
          <a:xfrm>
            <a:off x="0" y="2820477"/>
            <a:ext cx="9144000" cy="4037523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538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/>
          <p:cNvGrpSpPr/>
          <p:nvPr userDrawn="1"/>
        </p:nvGrpSpPr>
        <p:grpSpPr>
          <a:xfrm>
            <a:off x="0" y="6245752"/>
            <a:ext cx="9144000" cy="612248"/>
            <a:chOff x="0" y="6398814"/>
            <a:chExt cx="9144000" cy="459186"/>
          </a:xfrm>
        </p:grpSpPr>
        <p:sp>
          <p:nvSpPr>
            <p:cNvPr id="30" name="Rectangle 29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2" name="Rectangle 31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 bwMode="white">
          <a:xfrm>
            <a:off x="360000" y="1636183"/>
            <a:ext cx="4140000" cy="4416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FontTx/>
              <a:buNone/>
              <a:defRPr b="0">
                <a:solidFill>
                  <a:schemeClr val="bg1"/>
                </a:solidFill>
              </a:defRPr>
            </a:lvl1pPr>
            <a:lvl2pPr marL="34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 bwMode="white">
          <a:xfrm>
            <a:off x="4644000" y="1636183"/>
            <a:ext cx="4140000" cy="4416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FontTx/>
              <a:buNone/>
              <a:defRPr b="0">
                <a:solidFill>
                  <a:schemeClr val="bg1"/>
                </a:solidFill>
              </a:defRPr>
            </a:lvl1pPr>
            <a:lvl2pPr marL="34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3" name="Title 52"/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grpSp>
        <p:nvGrpSpPr>
          <p:cNvPr id="2" name="Group 33"/>
          <p:cNvGrpSpPr>
            <a:grpSpLocks/>
          </p:cNvGrpSpPr>
          <p:nvPr userDrawn="1"/>
        </p:nvGrpSpPr>
        <p:grpSpPr bwMode="white">
          <a:xfrm>
            <a:off x="7015590" y="497159"/>
            <a:ext cx="1779160" cy="3456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22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0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2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34" name="Rectangle 33"/>
          <p:cNvSpPr/>
          <p:nvPr userDrawn="1"/>
        </p:nvSpPr>
        <p:spPr bwMode="black">
          <a:xfrm>
            <a:off x="0" y="1432800"/>
            <a:ext cx="9144000" cy="72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963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Option 1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1" name="Group 50"/>
          <p:cNvGrpSpPr/>
          <p:nvPr userDrawn="1"/>
        </p:nvGrpSpPr>
        <p:grpSpPr>
          <a:xfrm>
            <a:off x="0" y="6245752"/>
            <a:ext cx="9144000" cy="612248"/>
            <a:chOff x="0" y="6398814"/>
            <a:chExt cx="9144000" cy="459186"/>
          </a:xfrm>
        </p:grpSpPr>
        <p:sp>
          <p:nvSpPr>
            <p:cNvPr id="52" name="Rectangle 51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4" name="Rectangle 53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36183"/>
            <a:ext cx="4140000" cy="4416000"/>
          </a:xfrm>
        </p:spPr>
        <p:txBody>
          <a:bodyPr/>
          <a:lstStyle>
            <a:lvl1pPr marL="450000" indent="-45000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Font typeface="+mj-lt"/>
              <a:buAutoNum type="arabicPeriod"/>
              <a:defRPr b="0">
                <a:solidFill>
                  <a:schemeClr val="accent1"/>
                </a:solidFill>
              </a:defRPr>
            </a:lvl1pPr>
            <a:lvl2pPr marL="34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44000" y="1636183"/>
            <a:ext cx="4140000" cy="4416000"/>
          </a:xfrm>
        </p:spPr>
        <p:txBody>
          <a:bodyPr/>
          <a:lstStyle>
            <a:lvl1pPr marL="450000" indent="-45000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Font typeface="+mj-lt"/>
              <a:buAutoNum type="arabicPeriod" startAt="7"/>
              <a:defRPr b="0">
                <a:solidFill>
                  <a:schemeClr val="accent1"/>
                </a:solidFill>
              </a:defRPr>
            </a:lvl1pPr>
            <a:lvl2pPr marL="34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3" name="Title 5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grpSp>
        <p:nvGrpSpPr>
          <p:cNvPr id="32" name="Group 33"/>
          <p:cNvGrpSpPr>
            <a:grpSpLocks/>
          </p:cNvGrpSpPr>
          <p:nvPr userDrawn="1"/>
        </p:nvGrpSpPr>
        <p:grpSpPr bwMode="white">
          <a:xfrm>
            <a:off x="7015590" y="497159"/>
            <a:ext cx="1779160" cy="3456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33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4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5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6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7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9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0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6603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Option 2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4" name="Group 53"/>
          <p:cNvGrpSpPr/>
          <p:nvPr userDrawn="1"/>
        </p:nvGrpSpPr>
        <p:grpSpPr>
          <a:xfrm>
            <a:off x="0" y="6245752"/>
            <a:ext cx="9144000" cy="612248"/>
            <a:chOff x="0" y="6398814"/>
            <a:chExt cx="9144000" cy="459186"/>
          </a:xfrm>
        </p:grpSpPr>
        <p:sp>
          <p:nvSpPr>
            <p:cNvPr id="55" name="Rectangle 54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6" name="Rectangle 55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Business unit | Footer</a:t>
            </a:r>
            <a:endParaRPr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36183"/>
            <a:ext cx="4140000" cy="4416000"/>
          </a:xfrm>
        </p:spPr>
        <p:txBody>
          <a:bodyPr/>
          <a:lstStyle>
            <a:lvl1pPr marL="450000" indent="-450000">
              <a:lnSpc>
                <a:spcPct val="100000"/>
              </a:lnSpc>
              <a:spcBef>
                <a:spcPts val="600"/>
              </a:spcBef>
              <a:buClrTx/>
              <a:buFont typeface="+mj-lt"/>
              <a:buAutoNum type="arabicPeriod"/>
              <a:defRPr b="1">
                <a:solidFill>
                  <a:schemeClr val="accent1"/>
                </a:solidFill>
              </a:defRPr>
            </a:lvl1pPr>
            <a:lvl2pPr marL="449263" indent="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+mj-lt"/>
              <a:buNone/>
              <a:defRPr sz="1600" b="0">
                <a:solidFill>
                  <a:schemeClr val="accent2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644000" y="1636183"/>
            <a:ext cx="4140000" cy="4416000"/>
          </a:xfrm>
        </p:spPr>
        <p:txBody>
          <a:bodyPr/>
          <a:lstStyle>
            <a:lvl1pPr marL="450000" indent="-450000">
              <a:lnSpc>
                <a:spcPct val="100000"/>
              </a:lnSpc>
              <a:spcBef>
                <a:spcPts val="600"/>
              </a:spcBef>
              <a:buClrTx/>
              <a:buFont typeface="+mj-lt"/>
              <a:buAutoNum type="arabicPeriod" startAt="7"/>
              <a:defRPr b="1">
                <a:solidFill>
                  <a:schemeClr val="accent1"/>
                </a:solidFill>
              </a:defRPr>
            </a:lvl1pPr>
            <a:lvl2pPr marL="44926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+mj-lt"/>
              <a:buNone/>
              <a:defRPr sz="1600" b="0">
                <a:solidFill>
                  <a:schemeClr val="accent2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29" name="Title 28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7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grpSp>
        <p:nvGrpSpPr>
          <p:cNvPr id="26" name="Group 33"/>
          <p:cNvGrpSpPr>
            <a:grpSpLocks/>
          </p:cNvGrpSpPr>
          <p:nvPr userDrawn="1"/>
        </p:nvGrpSpPr>
        <p:grpSpPr bwMode="white">
          <a:xfrm>
            <a:off x="7015590" y="497159"/>
            <a:ext cx="1779160" cy="3456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30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6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8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9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0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1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2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3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3193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5"/>
            <a:ext cx="8424000" cy="46085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36183"/>
            <a:ext cx="842400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923187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41" name="Group 40"/>
          <p:cNvGrpSpPr/>
          <p:nvPr userDrawn="1"/>
        </p:nvGrpSpPr>
        <p:grpSpPr>
          <a:xfrm>
            <a:off x="0" y="6245752"/>
            <a:ext cx="9144000" cy="612248"/>
            <a:chOff x="0" y="6398814"/>
            <a:chExt cx="9144000" cy="459186"/>
          </a:xfrm>
        </p:grpSpPr>
        <p:sp>
          <p:nvSpPr>
            <p:cNvPr id="42" name="Rectangle 41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3" name="Rectangle 42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6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57732" y="1636183"/>
            <a:ext cx="8426268" cy="4416000"/>
          </a:xfrm>
        </p:spPr>
        <p:txBody>
          <a:bodyPr/>
          <a:lstStyle>
            <a:lvl1pPr marL="180000" indent="-180000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1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3" name="Title 8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 marL="541338" indent="-541338">
              <a:buFont typeface="+mj-lt"/>
              <a:buAutoNum type="arabicPeriod"/>
              <a:tabLst>
                <a:tab pos="541338" algn="l"/>
              </a:tabLst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4" name="Slide Number Placeholder 8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5" name="Footer Placeholder 8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t>Business unit | Footer</a:t>
            </a:r>
            <a:endParaRPr dirty="0"/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grpSp>
        <p:nvGrpSpPr>
          <p:cNvPr id="25" name="Group 33"/>
          <p:cNvGrpSpPr>
            <a:grpSpLocks/>
          </p:cNvGrpSpPr>
          <p:nvPr userDrawn="1"/>
        </p:nvGrpSpPr>
        <p:grpSpPr bwMode="white">
          <a:xfrm>
            <a:off x="7015590" y="497159"/>
            <a:ext cx="1779160" cy="3456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26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9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0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8344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Light Blue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0" name="Group 49"/>
          <p:cNvGrpSpPr/>
          <p:nvPr userDrawn="1"/>
        </p:nvGrpSpPr>
        <p:grpSpPr>
          <a:xfrm>
            <a:off x="0" y="6245752"/>
            <a:ext cx="9144000" cy="612248"/>
            <a:chOff x="0" y="6398814"/>
            <a:chExt cx="9144000" cy="459186"/>
          </a:xfrm>
        </p:grpSpPr>
        <p:sp>
          <p:nvSpPr>
            <p:cNvPr id="51" name="Rectangle 50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2" name="Rectangle 51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74" name="Title 73"/>
          <p:cNvSpPr>
            <a:spLocks noGrp="1"/>
          </p:cNvSpPr>
          <p:nvPr>
            <p:ph type="title"/>
          </p:nvPr>
        </p:nvSpPr>
        <p:spPr bwMode="gray"/>
        <p:txBody>
          <a:bodyPr wrap="square" lIns="0" tIns="0" rIns="0" bIns="0" rtlCol="0" anchor="b" anchorCtr="0">
            <a:noAutofit/>
          </a:bodyPr>
          <a:lstStyle>
            <a:lvl1pPr marL="541338" indent="-541338" algn="l" defTabSz="914400" rtl="0" eaLnBrk="1" latinLnBrk="0" hangingPunct="1">
              <a:lnSpc>
                <a:spcPts val="2500"/>
              </a:lnSpc>
              <a:spcBef>
                <a:spcPct val="0"/>
              </a:spcBef>
              <a:buFont typeface="+mj-lt"/>
              <a:buAutoNum type="arabicPeriod"/>
              <a:tabLst>
                <a:tab pos="541338" algn="l"/>
              </a:tabLst>
              <a:defRPr lang="en-US" sz="2500" b="1" kern="0" dirty="0" smtClean="0">
                <a:solidFill>
                  <a:schemeClr val="bg1"/>
                </a:solidFill>
                <a:latin typeface="Arial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5" name="Slide Number Placeholder 7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6" name="Footer Placeholder 7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t>Business unit | Footer</a:t>
            </a:r>
            <a:endParaRPr dirty="0"/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57732" y="1636183"/>
            <a:ext cx="8426268" cy="4416000"/>
          </a:xfrm>
        </p:spPr>
        <p:txBody>
          <a:bodyPr/>
          <a:lstStyle>
            <a:lvl1pPr marL="180000" indent="-180000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1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4" name="Group 33"/>
          <p:cNvGrpSpPr>
            <a:grpSpLocks/>
          </p:cNvGrpSpPr>
          <p:nvPr userDrawn="1"/>
        </p:nvGrpSpPr>
        <p:grpSpPr bwMode="white">
          <a:xfrm>
            <a:off x="7015590" y="497159"/>
            <a:ext cx="1779160" cy="3456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40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2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4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5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6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7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8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9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1295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Turquois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0" name="Group 49"/>
          <p:cNvGrpSpPr/>
          <p:nvPr userDrawn="1"/>
        </p:nvGrpSpPr>
        <p:grpSpPr>
          <a:xfrm>
            <a:off x="0" y="6245752"/>
            <a:ext cx="9144000" cy="612248"/>
            <a:chOff x="0" y="6398814"/>
            <a:chExt cx="9144000" cy="459186"/>
          </a:xfrm>
        </p:grpSpPr>
        <p:sp>
          <p:nvSpPr>
            <p:cNvPr id="51" name="Rectangle 50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2" name="Rectangle 51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74" name="Slide Number Placeholder 7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5" name="Footer Placeholder 7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t>Business unit | Footer</a:t>
            </a:r>
            <a:endParaRPr dirty="0"/>
          </a:p>
        </p:txBody>
      </p:sp>
      <p:sp>
        <p:nvSpPr>
          <p:cNvPr id="76" name="Title 75"/>
          <p:cNvSpPr>
            <a:spLocks noGrp="1"/>
          </p:cNvSpPr>
          <p:nvPr>
            <p:ph type="title"/>
          </p:nvPr>
        </p:nvSpPr>
        <p:spPr bwMode="gray"/>
        <p:txBody>
          <a:bodyPr wrap="square" lIns="0" tIns="0" rIns="0" bIns="0" rtlCol="0" anchor="b" anchorCtr="0">
            <a:noAutofit/>
          </a:bodyPr>
          <a:lstStyle>
            <a:lvl1pPr marL="541338" indent="-541338" algn="l" defTabSz="914400" rtl="0" eaLnBrk="1" latinLnBrk="0" hangingPunct="1">
              <a:lnSpc>
                <a:spcPts val="2500"/>
              </a:lnSpc>
              <a:spcBef>
                <a:spcPct val="0"/>
              </a:spcBef>
              <a:buFont typeface="+mj-lt"/>
              <a:buAutoNum type="arabicPeriod"/>
              <a:tabLst>
                <a:tab pos="541338" algn="l"/>
              </a:tabLst>
              <a:defRPr lang="en-US" sz="2500" b="1" kern="0" dirty="0" smtClean="0">
                <a:solidFill>
                  <a:schemeClr val="bg1"/>
                </a:solidFill>
                <a:latin typeface="Arial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57732" y="1636183"/>
            <a:ext cx="8426268" cy="4416000"/>
          </a:xfrm>
        </p:spPr>
        <p:txBody>
          <a:bodyPr/>
          <a:lstStyle>
            <a:lvl1pPr marL="180000" indent="-180000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1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4" name="Group 33"/>
          <p:cNvGrpSpPr>
            <a:grpSpLocks/>
          </p:cNvGrpSpPr>
          <p:nvPr userDrawn="1"/>
        </p:nvGrpSpPr>
        <p:grpSpPr bwMode="white">
          <a:xfrm>
            <a:off x="7015590" y="497159"/>
            <a:ext cx="1779160" cy="3456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40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2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4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5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6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7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8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9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19428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Gray Blu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0" name="Group 49"/>
          <p:cNvGrpSpPr/>
          <p:nvPr userDrawn="1"/>
        </p:nvGrpSpPr>
        <p:grpSpPr>
          <a:xfrm>
            <a:off x="0" y="6245752"/>
            <a:ext cx="9144000" cy="612248"/>
            <a:chOff x="0" y="6398814"/>
            <a:chExt cx="9144000" cy="459186"/>
          </a:xfrm>
        </p:grpSpPr>
        <p:sp>
          <p:nvSpPr>
            <p:cNvPr id="51" name="Rectangle 50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2" name="Rectangle 51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74" name="Slide Number Placeholder 7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5" name="Footer Placeholder 7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t>Business unit | Footer</a:t>
            </a:r>
            <a:endParaRPr dirty="0"/>
          </a:p>
        </p:txBody>
      </p:sp>
      <p:sp>
        <p:nvSpPr>
          <p:cNvPr id="76" name="Title 75"/>
          <p:cNvSpPr>
            <a:spLocks noGrp="1"/>
          </p:cNvSpPr>
          <p:nvPr>
            <p:ph type="title"/>
          </p:nvPr>
        </p:nvSpPr>
        <p:spPr bwMode="gray"/>
        <p:txBody>
          <a:bodyPr wrap="square" lIns="0" tIns="0" rIns="0" bIns="0" rtlCol="0" anchor="b" anchorCtr="0">
            <a:noAutofit/>
          </a:bodyPr>
          <a:lstStyle>
            <a:lvl1pPr marL="541338" indent="-541338" algn="l" defTabSz="914400" rtl="0" eaLnBrk="1" latinLnBrk="0" hangingPunct="1">
              <a:lnSpc>
                <a:spcPts val="2500"/>
              </a:lnSpc>
              <a:spcBef>
                <a:spcPct val="0"/>
              </a:spcBef>
              <a:buFont typeface="+mj-lt"/>
              <a:buAutoNum type="arabicPeriod"/>
              <a:tabLst>
                <a:tab pos="541338" algn="l"/>
              </a:tabLst>
              <a:defRPr lang="en-US" sz="2500" b="1" kern="0" dirty="0" smtClean="0">
                <a:solidFill>
                  <a:schemeClr val="bg1"/>
                </a:solidFill>
                <a:latin typeface="Arial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57732" y="1636183"/>
            <a:ext cx="8426268" cy="4416000"/>
          </a:xfrm>
        </p:spPr>
        <p:txBody>
          <a:bodyPr/>
          <a:lstStyle>
            <a:lvl1pPr marL="180000" indent="-180000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1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4" name="Group 33"/>
          <p:cNvGrpSpPr>
            <a:grpSpLocks/>
          </p:cNvGrpSpPr>
          <p:nvPr userDrawn="1"/>
        </p:nvGrpSpPr>
        <p:grpSpPr bwMode="white">
          <a:xfrm>
            <a:off x="7015590" y="497159"/>
            <a:ext cx="1779160" cy="3456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40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2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4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5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6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7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8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9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86844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lim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36183"/>
            <a:ext cx="637200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6873779" y="1436152"/>
            <a:ext cx="2270225" cy="4809600"/>
          </a:xfr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467938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36183"/>
            <a:ext cx="414000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44000" y="1636183"/>
            <a:ext cx="414000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168563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36183"/>
            <a:ext cx="8424000" cy="213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0000" y="3916183"/>
            <a:ext cx="8424000" cy="213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400304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360000" y="1636183"/>
            <a:ext cx="271800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217916" y="1636183"/>
            <a:ext cx="271800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6076750" y="1636183"/>
            <a:ext cx="271800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357043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60000" y="1636183"/>
            <a:ext cx="199800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505583" y="1636183"/>
            <a:ext cx="199800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22"/>
          </p:nvPr>
        </p:nvSpPr>
        <p:spPr>
          <a:xfrm>
            <a:off x="4651166" y="1636183"/>
            <a:ext cx="199800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6796750" y="1636183"/>
            <a:ext cx="199800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34839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 bwMode="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" name="think-cell Slide" r:id="rId5" imgW="357" imgH="357" progId="">
                  <p:embed/>
                </p:oleObj>
              </mc:Choice>
              <mc:Fallback>
                <p:oleObj name="think-cell Slide" r:id="rId5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0" y="6398813"/>
            <a:ext cx="9144000" cy="459187"/>
            <a:chOff x="0" y="6398814"/>
            <a:chExt cx="9144000" cy="459186"/>
          </a:xfrm>
        </p:grpSpPr>
        <p:sp>
          <p:nvSpPr>
            <p:cNvPr id="23" name="Rectangle 22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24" name="Rectangle 23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57732" y="1600145"/>
            <a:ext cx="8426268" cy="4608569"/>
          </a:xfrm>
        </p:spPr>
        <p:txBody>
          <a:bodyPr/>
          <a:lstStyle>
            <a:lvl1pPr marL="180000" indent="-180000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1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3" name="Title 8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 marL="541338" indent="-541338">
              <a:buFont typeface="+mj-lt"/>
              <a:buAutoNum type="arabicPeriod"/>
              <a:tabLst>
                <a:tab pos="541338" algn="l"/>
              </a:tabLst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4" name="Slide Number Placeholder 8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sp>
        <p:nvSpPr>
          <p:cNvPr id="85" name="Footer Placeholder 8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Business unit | Footer</a:t>
            </a:r>
            <a:endParaRPr lang="en-US" noProof="0" dirty="0"/>
          </a:p>
        </p:txBody>
      </p:sp>
      <p:grpSp>
        <p:nvGrpSpPr>
          <p:cNvPr id="80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81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4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>
          <a:xfrm>
            <a:off x="0" y="6245752"/>
            <a:ext cx="9144000" cy="612248"/>
            <a:chOff x="0" y="6398814"/>
            <a:chExt cx="9144000" cy="459186"/>
          </a:xfrm>
        </p:grpSpPr>
        <p:sp>
          <p:nvSpPr>
            <p:cNvPr id="13" name="Rectangle 12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0" y="1434415"/>
            <a:ext cx="9144000" cy="4811337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920884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with AkzoNobel logo whi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/>
          <p:cNvGrpSpPr/>
          <p:nvPr userDrawn="1"/>
        </p:nvGrpSpPr>
        <p:grpSpPr>
          <a:xfrm>
            <a:off x="0" y="6245752"/>
            <a:ext cx="9144000" cy="612248"/>
            <a:chOff x="0" y="6398814"/>
            <a:chExt cx="9144000" cy="459186"/>
          </a:xfrm>
        </p:grpSpPr>
        <p:sp>
          <p:nvSpPr>
            <p:cNvPr id="27" name="Rectangle 26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grpSp>
        <p:nvGrpSpPr>
          <p:cNvPr id="32" name="Group 33"/>
          <p:cNvGrpSpPr>
            <a:grpSpLocks/>
          </p:cNvGrpSpPr>
          <p:nvPr userDrawn="1"/>
        </p:nvGrpSpPr>
        <p:grpSpPr bwMode="black">
          <a:xfrm>
            <a:off x="7015590" y="497159"/>
            <a:ext cx="1779160" cy="3456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34" name="Freeform 24"/>
            <p:cNvSpPr>
              <a:spLocks/>
            </p:cNvSpPr>
            <p:nvPr/>
          </p:nvSpPr>
          <p:spPr bwMode="black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5" name="Freeform 25"/>
            <p:cNvSpPr>
              <a:spLocks/>
            </p:cNvSpPr>
            <p:nvPr/>
          </p:nvSpPr>
          <p:spPr bwMode="black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6" name="Freeform 26"/>
            <p:cNvSpPr>
              <a:spLocks/>
            </p:cNvSpPr>
            <p:nvPr/>
          </p:nvSpPr>
          <p:spPr bwMode="black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7" name="Freeform 27"/>
            <p:cNvSpPr>
              <a:spLocks noEditPoints="1"/>
            </p:cNvSpPr>
            <p:nvPr/>
          </p:nvSpPr>
          <p:spPr bwMode="black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8" name="Freeform 28"/>
            <p:cNvSpPr>
              <a:spLocks noEditPoints="1"/>
            </p:cNvSpPr>
            <p:nvPr/>
          </p:nvSpPr>
          <p:spPr bwMode="black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9" name="Freeform 29"/>
            <p:cNvSpPr>
              <a:spLocks/>
            </p:cNvSpPr>
            <p:nvPr/>
          </p:nvSpPr>
          <p:spPr bwMode="black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0" name="Freeform 30"/>
            <p:cNvSpPr>
              <a:spLocks noEditPoints="1"/>
            </p:cNvSpPr>
            <p:nvPr/>
          </p:nvSpPr>
          <p:spPr bwMode="black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1" name="Freeform 31"/>
            <p:cNvSpPr>
              <a:spLocks noEditPoints="1"/>
            </p:cNvSpPr>
            <p:nvPr/>
          </p:nvSpPr>
          <p:spPr bwMode="black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2" name="Freeform 32"/>
            <p:cNvSpPr>
              <a:spLocks noEditPoints="1"/>
            </p:cNvSpPr>
            <p:nvPr/>
          </p:nvSpPr>
          <p:spPr bwMode="black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3" name="Freeform 33"/>
            <p:cNvSpPr>
              <a:spLocks/>
            </p:cNvSpPr>
            <p:nvPr/>
          </p:nvSpPr>
          <p:spPr bwMode="black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54" name="Rectangle 53"/>
          <p:cNvSpPr/>
          <p:nvPr userDrawn="1"/>
        </p:nvSpPr>
        <p:spPr>
          <a:xfrm>
            <a:off x="9288780" y="182685"/>
            <a:ext cx="1501140" cy="1583475"/>
          </a:xfrm>
          <a:prstGeom prst="rect">
            <a:avLst/>
          </a:prstGeom>
          <a:solidFill>
            <a:srgbClr val="B9C9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r>
              <a:rPr lang="en-US" sz="900" b="1" dirty="0" smtClean="0">
                <a:solidFill>
                  <a:srgbClr val="000000"/>
                </a:solidFill>
              </a:rPr>
              <a:t>Insert image via</a:t>
            </a:r>
          </a:p>
          <a:p>
            <a:r>
              <a:rPr lang="en-US" sz="900" dirty="0" smtClean="0">
                <a:solidFill>
                  <a:srgbClr val="000000"/>
                </a:solidFill>
              </a:rPr>
              <a:t>Format Background &gt; Picture or texture fill &gt;</a:t>
            </a:r>
          </a:p>
          <a:p>
            <a:r>
              <a:rPr lang="en-US" sz="900" dirty="0" smtClean="0">
                <a:solidFill>
                  <a:srgbClr val="000000"/>
                </a:solidFill>
              </a:rPr>
              <a:t>Click “File” to browse to your image</a:t>
            </a:r>
          </a:p>
          <a:p>
            <a:r>
              <a:rPr lang="en-US" sz="900" dirty="0" smtClean="0">
                <a:solidFill>
                  <a:srgbClr val="000000"/>
                </a:solidFill>
              </a:rPr>
              <a:t>Make sure </a:t>
            </a:r>
            <a:r>
              <a:rPr lang="en-US" sz="900" i="1" dirty="0" smtClean="0">
                <a:solidFill>
                  <a:srgbClr val="000000"/>
                </a:solidFill>
              </a:rPr>
              <a:t>“Tile picture as texture”</a:t>
            </a:r>
            <a:r>
              <a:rPr lang="en-US" sz="900" dirty="0" smtClean="0">
                <a:solidFill>
                  <a:srgbClr val="000000"/>
                </a:solidFill>
              </a:rPr>
              <a:t>  is ticked</a:t>
            </a:r>
          </a:p>
        </p:txBody>
      </p:sp>
    </p:spTree>
    <p:extLst>
      <p:ext uri="{BB962C8B-B14F-4D97-AF65-F5344CB8AC3E}">
        <p14:creationId xmlns:p14="http://schemas.microsoft.com/office/powerpoint/2010/main" val="2438721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with AkzoNobel logo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 userDrawn="1"/>
        </p:nvGrpSpPr>
        <p:grpSpPr>
          <a:xfrm>
            <a:off x="0" y="6245752"/>
            <a:ext cx="9144000" cy="612248"/>
            <a:chOff x="0" y="6398814"/>
            <a:chExt cx="9144000" cy="459186"/>
          </a:xfrm>
        </p:grpSpPr>
        <p:sp>
          <p:nvSpPr>
            <p:cNvPr id="28" name="Rectangle 27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9" name="Rectangle 28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26" name="Rectangle 25"/>
          <p:cNvSpPr/>
          <p:nvPr userDrawn="1"/>
        </p:nvSpPr>
        <p:spPr>
          <a:xfrm>
            <a:off x="9288780" y="182685"/>
            <a:ext cx="1501140" cy="1583475"/>
          </a:xfrm>
          <a:prstGeom prst="rect">
            <a:avLst/>
          </a:prstGeom>
          <a:solidFill>
            <a:srgbClr val="B9C9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r>
              <a:rPr lang="en-US" sz="900" b="1" dirty="0" smtClean="0">
                <a:solidFill>
                  <a:srgbClr val="000000"/>
                </a:solidFill>
              </a:rPr>
              <a:t>Insert image via</a:t>
            </a:r>
          </a:p>
          <a:p>
            <a:r>
              <a:rPr lang="en-US" sz="900" dirty="0" smtClean="0">
                <a:solidFill>
                  <a:srgbClr val="000000"/>
                </a:solidFill>
              </a:rPr>
              <a:t>Format Background &gt; Picture or texture fill &gt;</a:t>
            </a:r>
          </a:p>
          <a:p>
            <a:r>
              <a:rPr lang="en-US" sz="900" dirty="0" smtClean="0">
                <a:solidFill>
                  <a:srgbClr val="000000"/>
                </a:solidFill>
              </a:rPr>
              <a:t>Click “File” to browse to your image</a:t>
            </a:r>
          </a:p>
          <a:p>
            <a:r>
              <a:rPr lang="en-US" sz="900" dirty="0" smtClean="0">
                <a:solidFill>
                  <a:srgbClr val="000000"/>
                </a:solidFill>
              </a:rPr>
              <a:t>Make sure </a:t>
            </a:r>
            <a:r>
              <a:rPr lang="en-US" sz="900" i="1" dirty="0" smtClean="0">
                <a:solidFill>
                  <a:srgbClr val="000000"/>
                </a:solidFill>
              </a:rPr>
              <a:t>“Tile picture as texture”</a:t>
            </a:r>
            <a:r>
              <a:rPr lang="en-US" sz="900" dirty="0" smtClean="0">
                <a:solidFill>
                  <a:srgbClr val="000000"/>
                </a:solidFill>
              </a:rPr>
              <a:t>  is ticked</a:t>
            </a:r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grpSp>
        <p:nvGrpSpPr>
          <p:cNvPr id="31" name="Group 33"/>
          <p:cNvGrpSpPr>
            <a:grpSpLocks/>
          </p:cNvGrpSpPr>
          <p:nvPr userDrawn="1"/>
        </p:nvGrpSpPr>
        <p:grpSpPr bwMode="black">
          <a:xfrm>
            <a:off x="7015590" y="497159"/>
            <a:ext cx="1779160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32" name="Freeform 24"/>
            <p:cNvSpPr>
              <a:spLocks/>
            </p:cNvSpPr>
            <p:nvPr/>
          </p:nvSpPr>
          <p:spPr bwMode="black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5" name="Freeform 25"/>
            <p:cNvSpPr>
              <a:spLocks/>
            </p:cNvSpPr>
            <p:nvPr/>
          </p:nvSpPr>
          <p:spPr bwMode="black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6" name="Freeform 26"/>
            <p:cNvSpPr>
              <a:spLocks/>
            </p:cNvSpPr>
            <p:nvPr/>
          </p:nvSpPr>
          <p:spPr bwMode="black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7" name="Freeform 27"/>
            <p:cNvSpPr>
              <a:spLocks noEditPoints="1"/>
            </p:cNvSpPr>
            <p:nvPr/>
          </p:nvSpPr>
          <p:spPr bwMode="black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8" name="Freeform 28"/>
            <p:cNvSpPr>
              <a:spLocks noEditPoints="1"/>
            </p:cNvSpPr>
            <p:nvPr/>
          </p:nvSpPr>
          <p:spPr bwMode="black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9" name="Freeform 29"/>
            <p:cNvSpPr>
              <a:spLocks/>
            </p:cNvSpPr>
            <p:nvPr/>
          </p:nvSpPr>
          <p:spPr bwMode="black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0" name="Freeform 30"/>
            <p:cNvSpPr>
              <a:spLocks noEditPoints="1"/>
            </p:cNvSpPr>
            <p:nvPr/>
          </p:nvSpPr>
          <p:spPr bwMode="black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1" name="Freeform 31"/>
            <p:cNvSpPr>
              <a:spLocks noEditPoints="1"/>
            </p:cNvSpPr>
            <p:nvPr/>
          </p:nvSpPr>
          <p:spPr bwMode="black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2" name="Freeform 32"/>
            <p:cNvSpPr>
              <a:spLocks noEditPoints="1"/>
            </p:cNvSpPr>
            <p:nvPr/>
          </p:nvSpPr>
          <p:spPr bwMode="black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3" name="Freeform 33"/>
            <p:cNvSpPr>
              <a:spLocks/>
            </p:cNvSpPr>
            <p:nvPr/>
          </p:nvSpPr>
          <p:spPr bwMode="black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6165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0" y="1436152"/>
            <a:ext cx="4572000" cy="4809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4572000" y="1436152"/>
            <a:ext cx="4572000" cy="4809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3553583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36183"/>
            <a:ext cx="414000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644005" y="1436152"/>
            <a:ext cx="4499999" cy="4809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535737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Slim Text 2/3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1" y="1436152"/>
            <a:ext cx="5935915" cy="4809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076800" y="1636183"/>
            <a:ext cx="270720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673257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2/3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6076750" y="1436152"/>
            <a:ext cx="3067250" cy="4809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60000" y="1636183"/>
            <a:ext cx="5575916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3696219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1" y="1436152"/>
            <a:ext cx="6548368" cy="48096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732000" y="1636183"/>
            <a:ext cx="205200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614344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6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00" y="2212183"/>
            <a:ext cx="8424000" cy="384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36184"/>
            <a:ext cx="8424000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334829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00" y="2212183"/>
            <a:ext cx="4140000" cy="384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4644000" y="2212183"/>
            <a:ext cx="4140000" cy="384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36184"/>
            <a:ext cx="4140000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644000" y="1636184"/>
            <a:ext cx="4140000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3160522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8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0" y="6398813"/>
            <a:ext cx="9144000" cy="459187"/>
            <a:chOff x="0" y="6398814"/>
            <a:chExt cx="9144000" cy="459186"/>
          </a:xfrm>
        </p:grpSpPr>
        <p:sp>
          <p:nvSpPr>
            <p:cNvPr id="24" name="Rectangle 23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40" name="Rectangle 39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0000" y="1600145"/>
            <a:ext cx="8424000" cy="4608569"/>
          </a:xfrm>
        </p:spPr>
        <p:txBody>
          <a:bodyPr/>
          <a:lstStyle>
            <a:lvl1pPr marL="180000" indent="-180000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1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4" name="Title 73"/>
          <p:cNvSpPr>
            <a:spLocks noGrp="1"/>
          </p:cNvSpPr>
          <p:nvPr>
            <p:ph type="title"/>
          </p:nvPr>
        </p:nvSpPr>
        <p:spPr bwMode="gray"/>
        <p:txBody>
          <a:bodyPr wrap="square" lIns="0" tIns="0" rIns="0" bIns="0" rtlCol="0" anchor="b" anchorCtr="0">
            <a:noAutofit/>
          </a:bodyPr>
          <a:lstStyle>
            <a:lvl1pPr marL="541338" indent="-541338" algn="l" defTabSz="914400" rtl="0" eaLnBrk="1" latinLnBrk="0" hangingPunct="1">
              <a:lnSpc>
                <a:spcPts val="2500"/>
              </a:lnSpc>
              <a:spcBef>
                <a:spcPct val="0"/>
              </a:spcBef>
              <a:buFont typeface="+mj-lt"/>
              <a:buAutoNum type="arabicPeriod"/>
              <a:tabLst>
                <a:tab pos="541338" algn="l"/>
              </a:tabLst>
              <a:defRPr lang="en-US" sz="2500" b="1" kern="0" dirty="0" smtClean="0">
                <a:solidFill>
                  <a:schemeClr val="bg1"/>
                </a:solidFill>
                <a:latin typeface="Arial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5" name="Slide Number Placeholder 7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sp>
        <p:nvSpPr>
          <p:cNvPr id="76" name="Footer Placeholder 7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Business unit | Footer</a:t>
            </a:r>
            <a:endParaRPr lang="en-US" noProof="0" dirty="0"/>
          </a:p>
        </p:txBody>
      </p:sp>
      <p:grpSp>
        <p:nvGrpSpPr>
          <p:cNvPr id="29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30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385667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59999" y="2212183"/>
            <a:ext cx="2718000" cy="384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59999" y="1636184"/>
            <a:ext cx="2718000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0" name="Chart Placeholder 13"/>
          <p:cNvSpPr>
            <a:spLocks noGrp="1"/>
          </p:cNvSpPr>
          <p:nvPr>
            <p:ph type="chart" sz="quarter" idx="15"/>
          </p:nvPr>
        </p:nvSpPr>
        <p:spPr>
          <a:xfrm>
            <a:off x="3217916" y="2212183"/>
            <a:ext cx="2718000" cy="384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3217916" y="1636184"/>
            <a:ext cx="2718000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4" name="Chart Placeholder 13"/>
          <p:cNvSpPr>
            <a:spLocks noGrp="1"/>
          </p:cNvSpPr>
          <p:nvPr>
            <p:ph type="chart" sz="quarter" idx="17"/>
          </p:nvPr>
        </p:nvSpPr>
        <p:spPr>
          <a:xfrm>
            <a:off x="6076750" y="2212183"/>
            <a:ext cx="2718000" cy="384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076750" y="1636184"/>
            <a:ext cx="2718000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746355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00" y="2212183"/>
            <a:ext cx="1998000" cy="384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36184"/>
            <a:ext cx="1998000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0" name="Chart Placeholder 13"/>
          <p:cNvSpPr>
            <a:spLocks noGrp="1"/>
          </p:cNvSpPr>
          <p:nvPr>
            <p:ph type="chart" sz="quarter" idx="15"/>
          </p:nvPr>
        </p:nvSpPr>
        <p:spPr>
          <a:xfrm>
            <a:off x="2507124" y="2212183"/>
            <a:ext cx="1998000" cy="384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07124" y="1636184"/>
            <a:ext cx="1998000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4" name="Chart Placeholder 13"/>
          <p:cNvSpPr>
            <a:spLocks noGrp="1"/>
          </p:cNvSpPr>
          <p:nvPr>
            <p:ph type="chart" sz="quarter" idx="17"/>
          </p:nvPr>
        </p:nvSpPr>
        <p:spPr>
          <a:xfrm>
            <a:off x="4649124" y="2212183"/>
            <a:ext cx="1998000" cy="384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4649124" y="1636184"/>
            <a:ext cx="1998000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6" name="Chart Placeholder 13"/>
          <p:cNvSpPr>
            <a:spLocks noGrp="1"/>
          </p:cNvSpPr>
          <p:nvPr>
            <p:ph type="chart" sz="quarter" idx="21"/>
          </p:nvPr>
        </p:nvSpPr>
        <p:spPr>
          <a:xfrm>
            <a:off x="6791124" y="2212183"/>
            <a:ext cx="1998000" cy="384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22" hasCustomPrompt="1"/>
          </p:nvPr>
        </p:nvSpPr>
        <p:spPr>
          <a:xfrm>
            <a:off x="6791124" y="1636184"/>
            <a:ext cx="1998000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23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3935476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644000" y="1636183"/>
            <a:ext cx="414000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360000" y="2212183"/>
            <a:ext cx="4140000" cy="384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1636184"/>
            <a:ext cx="4140000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116110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 2/3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36183"/>
            <a:ext cx="5575916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6076750" y="2212183"/>
            <a:ext cx="2707250" cy="384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6076750" y="1636184"/>
            <a:ext cx="2707250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836612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and Text 2/3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076750" y="1636183"/>
            <a:ext cx="270725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360000" y="2212183"/>
            <a:ext cx="5575916" cy="384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1636184"/>
            <a:ext cx="5575916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421797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3 Graph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36183"/>
            <a:ext cx="8424000" cy="213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4"/>
          </p:nvPr>
        </p:nvSpPr>
        <p:spPr>
          <a:xfrm>
            <a:off x="359999" y="4482629"/>
            <a:ext cx="2718000" cy="1569555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3906629"/>
            <a:ext cx="2718000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6"/>
          </p:nvPr>
        </p:nvSpPr>
        <p:spPr>
          <a:xfrm>
            <a:off x="3217916" y="4482629"/>
            <a:ext cx="2718000" cy="1569555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3217916" y="3906629"/>
            <a:ext cx="2718000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6" name="Chart Placeholder 13"/>
          <p:cNvSpPr>
            <a:spLocks noGrp="1"/>
          </p:cNvSpPr>
          <p:nvPr>
            <p:ph type="chart" sz="quarter" idx="18"/>
          </p:nvPr>
        </p:nvSpPr>
        <p:spPr>
          <a:xfrm>
            <a:off x="6076750" y="4482629"/>
            <a:ext cx="2718000" cy="1569555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6076750" y="3906629"/>
            <a:ext cx="2718000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146500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s Horizonta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076750" y="1636183"/>
            <a:ext cx="270725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4"/>
          </p:nvPr>
        </p:nvSpPr>
        <p:spPr>
          <a:xfrm>
            <a:off x="360002" y="1876183"/>
            <a:ext cx="5575917" cy="120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0002" y="1636183"/>
            <a:ext cx="5575917" cy="184666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32" name="Chart Placeholder 13"/>
          <p:cNvSpPr>
            <a:spLocks noGrp="1"/>
          </p:cNvSpPr>
          <p:nvPr>
            <p:ph type="chart" sz="quarter" idx="25"/>
          </p:nvPr>
        </p:nvSpPr>
        <p:spPr>
          <a:xfrm>
            <a:off x="360002" y="3389583"/>
            <a:ext cx="5575917" cy="120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33" name="Text Placeholder 21"/>
          <p:cNvSpPr>
            <a:spLocks noGrp="1"/>
          </p:cNvSpPr>
          <p:nvPr>
            <p:ph type="body" sz="quarter" idx="26" hasCustomPrompt="1"/>
          </p:nvPr>
        </p:nvSpPr>
        <p:spPr>
          <a:xfrm>
            <a:off x="360002" y="3149583"/>
            <a:ext cx="5575917" cy="184666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</p:txBody>
      </p:sp>
      <p:sp>
        <p:nvSpPr>
          <p:cNvPr id="35" name="Chart Placeholder 13"/>
          <p:cNvSpPr>
            <a:spLocks noGrp="1"/>
          </p:cNvSpPr>
          <p:nvPr>
            <p:ph type="chart" sz="quarter" idx="27"/>
          </p:nvPr>
        </p:nvSpPr>
        <p:spPr>
          <a:xfrm>
            <a:off x="360002" y="4902983"/>
            <a:ext cx="5575917" cy="120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40" name="Text Placeholder 21"/>
          <p:cNvSpPr>
            <a:spLocks noGrp="1"/>
          </p:cNvSpPr>
          <p:nvPr>
            <p:ph type="body" sz="quarter" idx="28" hasCustomPrompt="1"/>
          </p:nvPr>
        </p:nvSpPr>
        <p:spPr>
          <a:xfrm>
            <a:off x="360002" y="4662983"/>
            <a:ext cx="5575917" cy="184666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</p:txBody>
      </p:sp>
    </p:spTree>
    <p:extLst>
      <p:ext uri="{BB962C8B-B14F-4D97-AF65-F5344CB8AC3E}">
        <p14:creationId xmlns:p14="http://schemas.microsoft.com/office/powerpoint/2010/main" val="1966074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36184"/>
            <a:ext cx="8424000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5"/>
          </p:nvPr>
        </p:nvSpPr>
        <p:spPr>
          <a:xfrm>
            <a:off x="360000" y="2212183"/>
            <a:ext cx="8424000" cy="3840000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3966945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36184"/>
            <a:ext cx="4140000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644000" y="1636184"/>
            <a:ext cx="4140000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8" name="Table Placeholder 11"/>
          <p:cNvSpPr>
            <a:spLocks noGrp="1"/>
          </p:cNvSpPr>
          <p:nvPr>
            <p:ph type="tbl" sz="quarter" idx="16"/>
          </p:nvPr>
        </p:nvSpPr>
        <p:spPr>
          <a:xfrm>
            <a:off x="360000" y="2212183"/>
            <a:ext cx="4140000" cy="3840000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20" name="Table Placeholder 11"/>
          <p:cNvSpPr>
            <a:spLocks noGrp="1"/>
          </p:cNvSpPr>
          <p:nvPr>
            <p:ph type="tbl" sz="quarter" idx="17"/>
          </p:nvPr>
        </p:nvSpPr>
        <p:spPr>
          <a:xfrm>
            <a:off x="4644000" y="2212183"/>
            <a:ext cx="4140000" cy="3840000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987699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36183"/>
            <a:ext cx="414000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644000" y="1636184"/>
            <a:ext cx="4140000" cy="49244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4" name="Table Placeholder 11"/>
          <p:cNvSpPr>
            <a:spLocks noGrp="1"/>
          </p:cNvSpPr>
          <p:nvPr>
            <p:ph type="tbl" sz="quarter" idx="17"/>
          </p:nvPr>
        </p:nvSpPr>
        <p:spPr>
          <a:xfrm>
            <a:off x="4644000" y="2212183"/>
            <a:ext cx="4140000" cy="3840000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3891730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Fuchsi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2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0" y="6398813"/>
            <a:ext cx="9144000" cy="459187"/>
            <a:chOff x="0" y="6398814"/>
            <a:chExt cx="9144000" cy="459186"/>
          </a:xfrm>
        </p:grpSpPr>
        <p:sp>
          <p:nvSpPr>
            <p:cNvPr id="43" name="Rectangle 42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44" name="Rectangle 43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0000" y="1600145"/>
            <a:ext cx="8424000" cy="4608569"/>
          </a:xfrm>
        </p:spPr>
        <p:txBody>
          <a:bodyPr/>
          <a:lstStyle>
            <a:lvl1pPr marL="180000" indent="-180000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1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4" name="Slide Number Placeholder 7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sp>
        <p:nvSpPr>
          <p:cNvPr id="75" name="Footer Placeholder 7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Business unit | Footer</a:t>
            </a:r>
            <a:endParaRPr lang="en-US" noProof="0" dirty="0"/>
          </a:p>
        </p:txBody>
      </p:sp>
      <p:sp>
        <p:nvSpPr>
          <p:cNvPr id="76" name="Title 75"/>
          <p:cNvSpPr>
            <a:spLocks noGrp="1"/>
          </p:cNvSpPr>
          <p:nvPr>
            <p:ph type="title"/>
          </p:nvPr>
        </p:nvSpPr>
        <p:spPr bwMode="gray"/>
        <p:txBody>
          <a:bodyPr wrap="square" lIns="0" tIns="0" rIns="0" bIns="0" rtlCol="0" anchor="b" anchorCtr="0">
            <a:noAutofit/>
          </a:bodyPr>
          <a:lstStyle>
            <a:lvl1pPr marL="541338" indent="-541338" algn="l" defTabSz="914400" rtl="0" eaLnBrk="1" latinLnBrk="0" hangingPunct="1">
              <a:lnSpc>
                <a:spcPts val="2500"/>
              </a:lnSpc>
              <a:spcBef>
                <a:spcPct val="0"/>
              </a:spcBef>
              <a:buFont typeface="+mj-lt"/>
              <a:buAutoNum type="arabicPeriod"/>
              <a:tabLst>
                <a:tab pos="541338" algn="l"/>
              </a:tabLst>
              <a:defRPr lang="en-US" sz="2500" b="1" kern="0" dirty="0" smtClean="0">
                <a:solidFill>
                  <a:schemeClr val="bg1"/>
                </a:solidFill>
                <a:latin typeface="Arial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29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30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1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358807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grpSp>
        <p:nvGrpSpPr>
          <p:cNvPr id="13" name="Group 62"/>
          <p:cNvGrpSpPr/>
          <p:nvPr/>
        </p:nvGrpSpPr>
        <p:grpSpPr>
          <a:xfrm>
            <a:off x="820458" y="1636183"/>
            <a:ext cx="7970470" cy="4084544"/>
            <a:chOff x="813530" y="1454889"/>
            <a:chExt cx="7970470" cy="2993966"/>
          </a:xfrm>
        </p:grpSpPr>
        <p:sp>
          <p:nvSpPr>
            <p:cNvPr id="16" name="Rectangle 499"/>
            <p:cNvSpPr>
              <a:spLocks noChangeArrowheads="1"/>
            </p:cNvSpPr>
            <p:nvPr/>
          </p:nvSpPr>
          <p:spPr bwMode="auto">
            <a:xfrm>
              <a:off x="813530" y="1454889"/>
              <a:ext cx="7970470" cy="299269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>
            <a:xfrm>
              <a:off x="4798765" y="1456156"/>
              <a:ext cx="0" cy="2992699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813600" y="2952505"/>
              <a:ext cx="7970400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/>
          <p:cNvGrpSpPr/>
          <p:nvPr userDrawn="1"/>
        </p:nvGrpSpPr>
        <p:grpSpPr>
          <a:xfrm>
            <a:off x="452334" y="1636717"/>
            <a:ext cx="8331667" cy="4416888"/>
            <a:chOff x="452334" y="1227538"/>
            <a:chExt cx="8331667" cy="3312666"/>
          </a:xfrm>
        </p:grpSpPr>
        <p:cxnSp>
          <p:nvCxnSpPr>
            <p:cNvPr id="8" name="Straight Arrow Connector 7"/>
            <p:cNvCxnSpPr/>
            <p:nvPr/>
          </p:nvCxnSpPr>
          <p:spPr>
            <a:xfrm>
              <a:off x="452334" y="4540204"/>
              <a:ext cx="8331667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/>
            <p:cNvCxnSpPr/>
            <p:nvPr/>
          </p:nvCxnSpPr>
          <p:spPr>
            <a:xfrm flipV="1">
              <a:off x="452334" y="1228204"/>
              <a:ext cx="0" cy="331200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/>
            <p:cNvSpPr/>
            <p:nvPr/>
          </p:nvSpPr>
          <p:spPr>
            <a:xfrm>
              <a:off x="528736" y="1227538"/>
              <a:ext cx="208390" cy="16158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>
                  <a:solidFill>
                    <a:srgbClr val="000000"/>
                  </a:solidFill>
                </a:rPr>
                <a:t>++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8575611" y="4315976"/>
              <a:ext cx="208390" cy="16158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>
                  <a:solidFill>
                    <a:srgbClr val="000000"/>
                  </a:solidFill>
                </a:rPr>
                <a:t>++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3620" y="4315976"/>
              <a:ext cx="118622" cy="16158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>
                  <a:solidFill>
                    <a:srgbClr val="000000"/>
                  </a:solidFill>
                </a:rPr>
                <a:t>--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8" name="Text Placeholder 25"/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323654" y="2792798"/>
            <a:ext cx="257369" cy="1771318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29" name="Text Placeholder 25"/>
          <p:cNvSpPr>
            <a:spLocks noGrp="1"/>
          </p:cNvSpPr>
          <p:nvPr userDrawn="1">
            <p:ph type="body" sz="quarter" idx="13" hasCustomPrompt="1"/>
          </p:nvPr>
        </p:nvSpPr>
        <p:spPr bwMode="gray">
          <a:xfrm>
            <a:off x="3879043" y="5933267"/>
            <a:ext cx="1844021" cy="184666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21" name="Title 20"/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3" name="Text Placeholder 30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44" name="Text Placeholder 30"/>
          <p:cNvSpPr>
            <a:spLocks noGrp="1"/>
          </p:cNvSpPr>
          <p:nvPr>
            <p:ph type="body" sz="quarter" idx="14"/>
          </p:nvPr>
        </p:nvSpPr>
        <p:spPr>
          <a:xfrm>
            <a:off x="820527" y="1636711"/>
            <a:ext cx="3978000" cy="2041408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400"/>
            </a:lvl1pPr>
            <a:lvl2pPr marL="179388" indent="-179388"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5" name="Text Placeholder 30"/>
          <p:cNvSpPr>
            <a:spLocks noGrp="1"/>
          </p:cNvSpPr>
          <p:nvPr>
            <p:ph type="body" sz="quarter" idx="19"/>
          </p:nvPr>
        </p:nvSpPr>
        <p:spPr>
          <a:xfrm>
            <a:off x="4812927" y="1636711"/>
            <a:ext cx="3978000" cy="2041408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400"/>
            </a:lvl1pPr>
            <a:lvl2pPr marL="179388" indent="-179388"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6" name="Text Placeholder 30"/>
          <p:cNvSpPr>
            <a:spLocks noGrp="1"/>
          </p:cNvSpPr>
          <p:nvPr>
            <p:ph type="body" sz="quarter" idx="20"/>
          </p:nvPr>
        </p:nvSpPr>
        <p:spPr>
          <a:xfrm>
            <a:off x="820527" y="3679319"/>
            <a:ext cx="3978000" cy="2041408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400"/>
            </a:lvl1pPr>
            <a:lvl2pPr marL="179388" indent="-179388"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7" name="Text Placeholder 30"/>
          <p:cNvSpPr>
            <a:spLocks noGrp="1"/>
          </p:cNvSpPr>
          <p:nvPr>
            <p:ph type="body" sz="quarter" idx="21"/>
          </p:nvPr>
        </p:nvSpPr>
        <p:spPr>
          <a:xfrm>
            <a:off x="4812927" y="3679319"/>
            <a:ext cx="3978000" cy="2041408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400"/>
            </a:lvl1pPr>
            <a:lvl2pPr marL="179388" indent="-179388"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1333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atrix 1/3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8" name="Title 17"/>
          <p:cNvSpPr>
            <a:spLocks noGrp="1"/>
          </p:cNvSpPr>
          <p:nvPr userDrawn="1"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360000" y="1636183"/>
            <a:ext cx="270720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grpSp>
        <p:nvGrpSpPr>
          <p:cNvPr id="59" name="Group 58"/>
          <p:cNvGrpSpPr/>
          <p:nvPr userDrawn="1"/>
        </p:nvGrpSpPr>
        <p:grpSpPr>
          <a:xfrm>
            <a:off x="3335011" y="1636717"/>
            <a:ext cx="5448993" cy="4416888"/>
            <a:chOff x="3335008" y="1227538"/>
            <a:chExt cx="5448993" cy="3312666"/>
          </a:xfrm>
        </p:grpSpPr>
        <p:cxnSp>
          <p:nvCxnSpPr>
            <p:cNvPr id="51" name="Straight Arrow Connector 50"/>
            <p:cNvCxnSpPr/>
            <p:nvPr/>
          </p:nvCxnSpPr>
          <p:spPr>
            <a:xfrm flipV="1">
              <a:off x="3335260" y="1228204"/>
              <a:ext cx="0" cy="331200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Rectangle 51"/>
            <p:cNvSpPr/>
            <p:nvPr/>
          </p:nvSpPr>
          <p:spPr>
            <a:xfrm>
              <a:off x="3411662" y="1227538"/>
              <a:ext cx="208390" cy="16158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>
                  <a:solidFill>
                    <a:srgbClr val="000000"/>
                  </a:solidFill>
                </a:rPr>
                <a:t>++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8575611" y="4315976"/>
              <a:ext cx="208390" cy="16158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>
                  <a:solidFill>
                    <a:srgbClr val="000000"/>
                  </a:solidFill>
                </a:rPr>
                <a:t>++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3456546" y="4315976"/>
              <a:ext cx="118622" cy="16158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>
                  <a:solidFill>
                    <a:srgbClr val="000000"/>
                  </a:solidFill>
                </a:rPr>
                <a:t>--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cxnSp>
          <p:nvCxnSpPr>
            <p:cNvPr id="50" name="Straight Arrow Connector 49"/>
            <p:cNvCxnSpPr/>
            <p:nvPr/>
          </p:nvCxnSpPr>
          <p:spPr>
            <a:xfrm>
              <a:off x="3335008" y="4540204"/>
              <a:ext cx="5448993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oup 62"/>
          <p:cNvGrpSpPr/>
          <p:nvPr userDrawn="1"/>
        </p:nvGrpSpPr>
        <p:grpSpPr>
          <a:xfrm>
            <a:off x="3703176" y="1636183"/>
            <a:ext cx="5087752" cy="4084544"/>
            <a:chOff x="813530" y="1454889"/>
            <a:chExt cx="7970470" cy="2993966"/>
          </a:xfrm>
        </p:grpSpPr>
        <p:sp>
          <p:nvSpPr>
            <p:cNvPr id="46" name="Rectangle 499"/>
            <p:cNvSpPr>
              <a:spLocks noChangeArrowheads="1"/>
            </p:cNvSpPr>
            <p:nvPr/>
          </p:nvSpPr>
          <p:spPr bwMode="auto">
            <a:xfrm>
              <a:off x="813530" y="1454889"/>
              <a:ext cx="7970470" cy="299269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cxnSp>
          <p:nvCxnSpPr>
            <p:cNvPr id="47" name="Straight Connector 46"/>
            <p:cNvCxnSpPr/>
            <p:nvPr/>
          </p:nvCxnSpPr>
          <p:spPr>
            <a:xfrm>
              <a:off x="4798765" y="1456156"/>
              <a:ext cx="0" cy="2992699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813600" y="2952505"/>
              <a:ext cx="7970400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ext Placeholder 25"/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3206580" y="2792798"/>
            <a:ext cx="257369" cy="1771318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56" name="Text Placeholder 25"/>
          <p:cNvSpPr>
            <a:spLocks noGrp="1"/>
          </p:cNvSpPr>
          <p:nvPr userDrawn="1">
            <p:ph type="body" sz="quarter" idx="13" hasCustomPrompt="1"/>
          </p:nvPr>
        </p:nvSpPr>
        <p:spPr bwMode="gray">
          <a:xfrm>
            <a:off x="5325045" y="5933267"/>
            <a:ext cx="1844021" cy="184666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990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x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3" name="Straight Arrow Connector 62"/>
          <p:cNvCxnSpPr/>
          <p:nvPr/>
        </p:nvCxnSpPr>
        <p:spPr>
          <a:xfrm>
            <a:off x="452585" y="6053605"/>
            <a:ext cx="6118961" cy="0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8" name="Title 17"/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5"/>
          </p:nvPr>
        </p:nvSpPr>
        <p:spPr>
          <a:xfrm>
            <a:off x="6732000" y="1636183"/>
            <a:ext cx="205200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cxnSp>
        <p:nvCxnSpPr>
          <p:cNvPr id="59" name="Straight Arrow Connector 58"/>
          <p:cNvCxnSpPr/>
          <p:nvPr/>
        </p:nvCxnSpPr>
        <p:spPr>
          <a:xfrm flipV="1">
            <a:off x="452585" y="1637605"/>
            <a:ext cx="0" cy="4416000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/>
          <p:cNvSpPr/>
          <p:nvPr/>
        </p:nvSpPr>
        <p:spPr>
          <a:xfrm>
            <a:off x="528987" y="1636717"/>
            <a:ext cx="208390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400" dirty="0" smtClean="0">
                <a:solidFill>
                  <a:srgbClr val="000000"/>
                </a:solidFill>
              </a:rPr>
              <a:t>++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6363156" y="5754635"/>
            <a:ext cx="208390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400" dirty="0" smtClean="0">
                <a:solidFill>
                  <a:srgbClr val="000000"/>
                </a:solidFill>
              </a:rPr>
              <a:t>++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573871" y="5754635"/>
            <a:ext cx="118622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400" dirty="0" smtClean="0">
                <a:solidFill>
                  <a:srgbClr val="000000"/>
                </a:solidFill>
              </a:rPr>
              <a:t>--</a:t>
            </a:r>
            <a:endParaRPr lang="en-US" sz="1400" dirty="0">
              <a:solidFill>
                <a:srgbClr val="000000"/>
              </a:solidFill>
            </a:endParaRPr>
          </a:p>
        </p:txBody>
      </p:sp>
      <p:grpSp>
        <p:nvGrpSpPr>
          <p:cNvPr id="64" name="Group 62"/>
          <p:cNvGrpSpPr/>
          <p:nvPr userDrawn="1"/>
        </p:nvGrpSpPr>
        <p:grpSpPr>
          <a:xfrm>
            <a:off x="820599" y="1636183"/>
            <a:ext cx="5757877" cy="4084544"/>
            <a:chOff x="813530" y="1454889"/>
            <a:chExt cx="7970470" cy="2993966"/>
          </a:xfrm>
        </p:grpSpPr>
        <p:sp>
          <p:nvSpPr>
            <p:cNvPr id="65" name="Rectangle 499"/>
            <p:cNvSpPr>
              <a:spLocks noChangeArrowheads="1"/>
            </p:cNvSpPr>
            <p:nvPr/>
          </p:nvSpPr>
          <p:spPr bwMode="auto">
            <a:xfrm>
              <a:off x="813530" y="1454889"/>
              <a:ext cx="7970470" cy="299269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cxnSp>
          <p:nvCxnSpPr>
            <p:cNvPr id="66" name="Straight Connector 65"/>
            <p:cNvCxnSpPr/>
            <p:nvPr/>
          </p:nvCxnSpPr>
          <p:spPr>
            <a:xfrm>
              <a:off x="4798765" y="1456156"/>
              <a:ext cx="0" cy="2992699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/>
          </p:nvCxnSpPr>
          <p:spPr>
            <a:xfrm>
              <a:off x="813600" y="2952505"/>
              <a:ext cx="7970400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Text Placeholder 25"/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323905" y="2792798"/>
            <a:ext cx="257369" cy="1771318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69" name="Text Placeholder 25"/>
          <p:cNvSpPr>
            <a:spLocks noGrp="1"/>
          </p:cNvSpPr>
          <p:nvPr userDrawn="1">
            <p:ph type="body" sz="quarter" idx="13" hasCustomPrompt="1"/>
          </p:nvPr>
        </p:nvSpPr>
        <p:spPr bwMode="gray">
          <a:xfrm>
            <a:off x="2777527" y="5933267"/>
            <a:ext cx="1844021" cy="184666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7549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9" name="Straight Arrow Connector 38"/>
          <p:cNvCxnSpPr/>
          <p:nvPr/>
        </p:nvCxnSpPr>
        <p:spPr>
          <a:xfrm>
            <a:off x="4752146" y="6053605"/>
            <a:ext cx="4031855" cy="0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30" name="Text Placeholder 10"/>
          <p:cNvSpPr>
            <a:spLocks noGrp="1"/>
          </p:cNvSpPr>
          <p:nvPr userDrawn="1">
            <p:ph type="body" sz="quarter" idx="12"/>
          </p:nvPr>
        </p:nvSpPr>
        <p:spPr>
          <a:xfrm>
            <a:off x="360000" y="1636183"/>
            <a:ext cx="4140000" cy="441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Title 18"/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7" name="Text Placeholder 30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cxnSp>
        <p:nvCxnSpPr>
          <p:cNvPr id="35" name="Straight Arrow Connector 34"/>
          <p:cNvCxnSpPr/>
          <p:nvPr/>
        </p:nvCxnSpPr>
        <p:spPr>
          <a:xfrm flipV="1">
            <a:off x="4752146" y="1637605"/>
            <a:ext cx="0" cy="4416000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>
          <a:xfrm>
            <a:off x="4828548" y="1636717"/>
            <a:ext cx="208390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400" dirty="0" smtClean="0">
                <a:solidFill>
                  <a:srgbClr val="000000"/>
                </a:solidFill>
              </a:rPr>
              <a:t>++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575611" y="5754635"/>
            <a:ext cx="208390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400" dirty="0" smtClean="0">
                <a:solidFill>
                  <a:srgbClr val="000000"/>
                </a:solidFill>
              </a:rPr>
              <a:t>++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4873432" y="5754635"/>
            <a:ext cx="118622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400" dirty="0" smtClean="0">
                <a:solidFill>
                  <a:srgbClr val="000000"/>
                </a:solidFill>
              </a:rPr>
              <a:t>--</a:t>
            </a:r>
            <a:endParaRPr lang="en-US" sz="1400" dirty="0">
              <a:solidFill>
                <a:srgbClr val="000000"/>
              </a:solidFill>
            </a:endParaRPr>
          </a:p>
        </p:txBody>
      </p:sp>
      <p:grpSp>
        <p:nvGrpSpPr>
          <p:cNvPr id="40" name="Group 62"/>
          <p:cNvGrpSpPr/>
          <p:nvPr userDrawn="1"/>
        </p:nvGrpSpPr>
        <p:grpSpPr>
          <a:xfrm>
            <a:off x="5113378" y="1636183"/>
            <a:ext cx="3677553" cy="4084544"/>
            <a:chOff x="813530" y="1454889"/>
            <a:chExt cx="7970470" cy="2993966"/>
          </a:xfrm>
        </p:grpSpPr>
        <p:sp>
          <p:nvSpPr>
            <p:cNvPr id="41" name="Rectangle 499"/>
            <p:cNvSpPr>
              <a:spLocks noChangeArrowheads="1"/>
            </p:cNvSpPr>
            <p:nvPr/>
          </p:nvSpPr>
          <p:spPr bwMode="auto">
            <a:xfrm>
              <a:off x="813530" y="1454889"/>
              <a:ext cx="7970470" cy="299269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cxnSp>
          <p:nvCxnSpPr>
            <p:cNvPr id="42" name="Straight Connector 41"/>
            <p:cNvCxnSpPr/>
            <p:nvPr/>
          </p:nvCxnSpPr>
          <p:spPr>
            <a:xfrm>
              <a:off x="4798765" y="1456156"/>
              <a:ext cx="0" cy="2992699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813600" y="2952505"/>
              <a:ext cx="7970400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Text Placeholder 25"/>
          <p:cNvSpPr>
            <a:spLocks noGrp="1"/>
          </p:cNvSpPr>
          <p:nvPr userDrawn="1">
            <p:ph type="body" sz="quarter" idx="17" hasCustomPrompt="1"/>
          </p:nvPr>
        </p:nvSpPr>
        <p:spPr bwMode="gray">
          <a:xfrm>
            <a:off x="4623466" y="2792798"/>
            <a:ext cx="257369" cy="1771318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45" name="Text Placeholder 25"/>
          <p:cNvSpPr>
            <a:spLocks noGrp="1"/>
          </p:cNvSpPr>
          <p:nvPr userDrawn="1">
            <p:ph type="body" sz="quarter" idx="13" hasCustomPrompt="1"/>
          </p:nvPr>
        </p:nvSpPr>
        <p:spPr bwMode="gray">
          <a:xfrm>
            <a:off x="6030144" y="5933267"/>
            <a:ext cx="1844021" cy="184666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047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901775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vie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edia Placeholder 4"/>
          <p:cNvSpPr>
            <a:spLocks noGrp="1" noChangeAspect="1"/>
          </p:cNvSpPr>
          <p:nvPr>
            <p:ph type="media" sz="quarter" idx="12" hasCustomPrompt="1"/>
          </p:nvPr>
        </p:nvSpPr>
        <p:spPr bwMode="auto">
          <a:xfrm>
            <a:off x="1219977" y="1436152"/>
            <a:ext cx="6495007" cy="4809600"/>
          </a:xfrm>
          <a:solidFill>
            <a:schemeClr val="tx1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Movie</a:t>
            </a:r>
          </a:p>
          <a:p>
            <a:r>
              <a:rPr lang="en-US" dirty="0" smtClean="0"/>
              <a:t>(depending on movie size/ratio)</a:t>
            </a:r>
          </a:p>
          <a:p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2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3435909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vie with AkzoNobel logo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 smtClean="0">
                <a:solidFill>
                  <a:srgbClr val="000000"/>
                </a:solidFill>
              </a:rPr>
              <a:t>Business unit | Footer</a:t>
            </a:r>
            <a:endParaRPr lang="nl-NL" dirty="0">
              <a:solidFill>
                <a:srgbClr val="000000"/>
              </a:solidFill>
            </a:endParaRPr>
          </a:p>
        </p:txBody>
      </p:sp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 bwMode="auto">
          <a:xfrm>
            <a:off x="0" y="0"/>
            <a:ext cx="9144000" cy="6858000"/>
          </a:xfrm>
          <a:noFill/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Movie</a:t>
            </a:r>
          </a:p>
          <a:p>
            <a:r>
              <a:rPr lang="en-US" dirty="0" smtClean="0"/>
              <a:t>(depending on movie size/ratio)</a:t>
            </a:r>
          </a:p>
          <a:p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endParaRPr lang="en-US" dirty="0" smtClean="0"/>
          </a:p>
          <a:p>
            <a:endParaRPr lang="en-US" dirty="0"/>
          </a:p>
        </p:txBody>
      </p:sp>
      <p:grpSp>
        <p:nvGrpSpPr>
          <p:cNvPr id="19" name="Group 33"/>
          <p:cNvGrpSpPr>
            <a:grpSpLocks/>
          </p:cNvGrpSpPr>
          <p:nvPr userDrawn="1"/>
        </p:nvGrpSpPr>
        <p:grpSpPr bwMode="black">
          <a:xfrm>
            <a:off x="7015590" y="497159"/>
            <a:ext cx="1779160" cy="3456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20" name="Freeform 24"/>
            <p:cNvSpPr>
              <a:spLocks/>
            </p:cNvSpPr>
            <p:nvPr/>
          </p:nvSpPr>
          <p:spPr bwMode="black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25"/>
            <p:cNvSpPr>
              <a:spLocks/>
            </p:cNvSpPr>
            <p:nvPr/>
          </p:nvSpPr>
          <p:spPr bwMode="black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" name="Freeform 26"/>
            <p:cNvSpPr>
              <a:spLocks/>
            </p:cNvSpPr>
            <p:nvPr/>
          </p:nvSpPr>
          <p:spPr bwMode="black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" name="Freeform 27"/>
            <p:cNvSpPr>
              <a:spLocks noEditPoints="1"/>
            </p:cNvSpPr>
            <p:nvPr/>
          </p:nvSpPr>
          <p:spPr bwMode="black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28"/>
            <p:cNvSpPr>
              <a:spLocks noEditPoints="1"/>
            </p:cNvSpPr>
            <p:nvPr/>
          </p:nvSpPr>
          <p:spPr bwMode="black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Freeform 29"/>
            <p:cNvSpPr>
              <a:spLocks/>
            </p:cNvSpPr>
            <p:nvPr/>
          </p:nvSpPr>
          <p:spPr bwMode="black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30"/>
            <p:cNvSpPr>
              <a:spLocks noEditPoints="1"/>
            </p:cNvSpPr>
            <p:nvPr/>
          </p:nvSpPr>
          <p:spPr bwMode="black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31"/>
            <p:cNvSpPr>
              <a:spLocks noEditPoints="1"/>
            </p:cNvSpPr>
            <p:nvPr/>
          </p:nvSpPr>
          <p:spPr bwMode="black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32"/>
            <p:cNvSpPr>
              <a:spLocks noEditPoints="1"/>
            </p:cNvSpPr>
            <p:nvPr/>
          </p:nvSpPr>
          <p:spPr bwMode="black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Freeform 33"/>
            <p:cNvSpPr>
              <a:spLocks/>
            </p:cNvSpPr>
            <p:nvPr/>
          </p:nvSpPr>
          <p:spPr bwMode="black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6055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vie with AkzoNobel logo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smtClean="0">
                <a:solidFill>
                  <a:srgbClr val="FFFFFF"/>
                </a:solidFill>
              </a:rPr>
              <a:t>Business unit | Footer</a:t>
            </a:r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 bwMode="auto">
          <a:xfrm>
            <a:off x="0" y="0"/>
            <a:ext cx="9144000" cy="6858000"/>
          </a:xfrm>
          <a:noFill/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ovie</a:t>
            </a:r>
          </a:p>
          <a:p>
            <a:r>
              <a:rPr lang="en-US" dirty="0" smtClean="0"/>
              <a:t>(depending on movie size/ratio)</a:t>
            </a:r>
          </a:p>
          <a:p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endParaRPr lang="en-US" dirty="0" smtClean="0"/>
          </a:p>
          <a:p>
            <a:endParaRPr lang="en-US" dirty="0"/>
          </a:p>
        </p:txBody>
      </p:sp>
      <p:grpSp>
        <p:nvGrpSpPr>
          <p:cNvPr id="18" name="Group 33"/>
          <p:cNvGrpSpPr>
            <a:grpSpLocks/>
          </p:cNvGrpSpPr>
          <p:nvPr userDrawn="1"/>
        </p:nvGrpSpPr>
        <p:grpSpPr bwMode="black">
          <a:xfrm>
            <a:off x="7015590" y="497159"/>
            <a:ext cx="1779160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19" name="Freeform 24"/>
            <p:cNvSpPr>
              <a:spLocks/>
            </p:cNvSpPr>
            <p:nvPr/>
          </p:nvSpPr>
          <p:spPr bwMode="black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25"/>
            <p:cNvSpPr>
              <a:spLocks/>
            </p:cNvSpPr>
            <p:nvPr/>
          </p:nvSpPr>
          <p:spPr bwMode="black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26"/>
            <p:cNvSpPr>
              <a:spLocks/>
            </p:cNvSpPr>
            <p:nvPr/>
          </p:nvSpPr>
          <p:spPr bwMode="black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" name="Freeform 27"/>
            <p:cNvSpPr>
              <a:spLocks noEditPoints="1"/>
            </p:cNvSpPr>
            <p:nvPr/>
          </p:nvSpPr>
          <p:spPr bwMode="black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" name="Freeform 28"/>
            <p:cNvSpPr>
              <a:spLocks noEditPoints="1"/>
            </p:cNvSpPr>
            <p:nvPr/>
          </p:nvSpPr>
          <p:spPr bwMode="black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29"/>
            <p:cNvSpPr>
              <a:spLocks/>
            </p:cNvSpPr>
            <p:nvPr/>
          </p:nvSpPr>
          <p:spPr bwMode="black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Freeform 30"/>
            <p:cNvSpPr>
              <a:spLocks noEditPoints="1"/>
            </p:cNvSpPr>
            <p:nvPr/>
          </p:nvSpPr>
          <p:spPr bwMode="black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31"/>
            <p:cNvSpPr>
              <a:spLocks noEditPoints="1"/>
            </p:cNvSpPr>
            <p:nvPr/>
          </p:nvSpPr>
          <p:spPr bwMode="black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32"/>
            <p:cNvSpPr>
              <a:spLocks noEditPoints="1"/>
            </p:cNvSpPr>
            <p:nvPr/>
          </p:nvSpPr>
          <p:spPr bwMode="black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33"/>
            <p:cNvSpPr>
              <a:spLocks/>
            </p:cNvSpPr>
            <p:nvPr/>
          </p:nvSpPr>
          <p:spPr bwMode="black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8197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9430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white">
          <a:xfrm>
            <a:off x="0" y="-1"/>
            <a:ext cx="9144000" cy="32233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 bwMode="black">
          <a:xfrm>
            <a:off x="5619754" y="1571340"/>
            <a:ext cx="3228853" cy="806400"/>
            <a:chOff x="1427163" y="-1920875"/>
            <a:chExt cx="7881938" cy="1476375"/>
          </a:xfrm>
        </p:grpSpPr>
        <p:sp>
          <p:nvSpPr>
            <p:cNvPr id="21" name="AutoShape 21"/>
            <p:cNvSpPr>
              <a:spLocks noChangeAspect="1" noChangeArrowheads="1" noTextEdit="1"/>
            </p:cNvSpPr>
            <p:nvPr/>
          </p:nvSpPr>
          <p:spPr bwMode="black">
            <a:xfrm>
              <a:off x="1427163" y="-1917700"/>
              <a:ext cx="7874000" cy="1473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" name="Freeform 23"/>
            <p:cNvSpPr>
              <a:spLocks noEditPoints="1"/>
            </p:cNvSpPr>
            <p:nvPr/>
          </p:nvSpPr>
          <p:spPr bwMode="black">
            <a:xfrm>
              <a:off x="5854701" y="-1920875"/>
              <a:ext cx="3454400" cy="1473200"/>
            </a:xfrm>
            <a:custGeom>
              <a:avLst/>
              <a:gdLst/>
              <a:ahLst/>
              <a:cxnLst>
                <a:cxn ang="0">
                  <a:pos x="898" y="12"/>
                </a:cxn>
                <a:cxn ang="0">
                  <a:pos x="882" y="34"/>
                </a:cxn>
                <a:cxn ang="0">
                  <a:pos x="865" y="65"/>
                </a:cxn>
                <a:cxn ang="0">
                  <a:pos x="872" y="23"/>
                </a:cxn>
                <a:cxn ang="0">
                  <a:pos x="869" y="1"/>
                </a:cxn>
                <a:cxn ang="0">
                  <a:pos x="857" y="38"/>
                </a:cxn>
                <a:cxn ang="0">
                  <a:pos x="848" y="76"/>
                </a:cxn>
                <a:cxn ang="0">
                  <a:pos x="845" y="17"/>
                </a:cxn>
                <a:cxn ang="0">
                  <a:pos x="833" y="31"/>
                </a:cxn>
                <a:cxn ang="0">
                  <a:pos x="834" y="63"/>
                </a:cxn>
                <a:cxn ang="0">
                  <a:pos x="832" y="59"/>
                </a:cxn>
                <a:cxn ang="0">
                  <a:pos x="818" y="33"/>
                </a:cxn>
                <a:cxn ang="0">
                  <a:pos x="819" y="69"/>
                </a:cxn>
                <a:cxn ang="0">
                  <a:pos x="798" y="105"/>
                </a:cxn>
                <a:cxn ang="0">
                  <a:pos x="750" y="107"/>
                </a:cxn>
                <a:cxn ang="0">
                  <a:pos x="633" y="184"/>
                </a:cxn>
                <a:cxn ang="0">
                  <a:pos x="496" y="256"/>
                </a:cxn>
                <a:cxn ang="0">
                  <a:pos x="536" y="219"/>
                </a:cxn>
                <a:cxn ang="0">
                  <a:pos x="322" y="389"/>
                </a:cxn>
                <a:cxn ang="0">
                  <a:pos x="423" y="393"/>
                </a:cxn>
                <a:cxn ang="0">
                  <a:pos x="418" y="346"/>
                </a:cxn>
                <a:cxn ang="0">
                  <a:pos x="645" y="268"/>
                </a:cxn>
                <a:cxn ang="0">
                  <a:pos x="766" y="146"/>
                </a:cxn>
                <a:cxn ang="0">
                  <a:pos x="830" y="108"/>
                </a:cxn>
                <a:cxn ang="0">
                  <a:pos x="853" y="91"/>
                </a:cxn>
                <a:cxn ang="0">
                  <a:pos x="884" y="56"/>
                </a:cxn>
                <a:cxn ang="0">
                  <a:pos x="915" y="9"/>
                </a:cxn>
                <a:cxn ang="0">
                  <a:pos x="417" y="125"/>
                </a:cxn>
                <a:cxn ang="0">
                  <a:pos x="425" y="117"/>
                </a:cxn>
                <a:cxn ang="0">
                  <a:pos x="401" y="109"/>
                </a:cxn>
                <a:cxn ang="0">
                  <a:pos x="417" y="125"/>
                </a:cxn>
                <a:cxn ang="0">
                  <a:pos x="356" y="110"/>
                </a:cxn>
                <a:cxn ang="0">
                  <a:pos x="355" y="147"/>
                </a:cxn>
                <a:cxn ang="0">
                  <a:pos x="351" y="135"/>
                </a:cxn>
                <a:cxn ang="0">
                  <a:pos x="335" y="119"/>
                </a:cxn>
                <a:cxn ang="0">
                  <a:pos x="435" y="213"/>
                </a:cxn>
                <a:cxn ang="0">
                  <a:pos x="361" y="234"/>
                </a:cxn>
                <a:cxn ang="0">
                  <a:pos x="369" y="209"/>
                </a:cxn>
                <a:cxn ang="0">
                  <a:pos x="372" y="183"/>
                </a:cxn>
                <a:cxn ang="0">
                  <a:pos x="392" y="172"/>
                </a:cxn>
                <a:cxn ang="0">
                  <a:pos x="377" y="163"/>
                </a:cxn>
                <a:cxn ang="0">
                  <a:pos x="400" y="164"/>
                </a:cxn>
                <a:cxn ang="0">
                  <a:pos x="388" y="153"/>
                </a:cxn>
                <a:cxn ang="0">
                  <a:pos x="396" y="139"/>
                </a:cxn>
                <a:cxn ang="0">
                  <a:pos x="369" y="88"/>
                </a:cxn>
                <a:cxn ang="0">
                  <a:pos x="319" y="39"/>
                </a:cxn>
                <a:cxn ang="0">
                  <a:pos x="275" y="91"/>
                </a:cxn>
                <a:cxn ang="0">
                  <a:pos x="288" y="98"/>
                </a:cxn>
                <a:cxn ang="0">
                  <a:pos x="293" y="147"/>
                </a:cxn>
                <a:cxn ang="0">
                  <a:pos x="292" y="276"/>
                </a:cxn>
                <a:cxn ang="0">
                  <a:pos x="278" y="272"/>
                </a:cxn>
                <a:cxn ang="0">
                  <a:pos x="248" y="289"/>
                </a:cxn>
                <a:cxn ang="0">
                  <a:pos x="186" y="332"/>
                </a:cxn>
                <a:cxn ang="0">
                  <a:pos x="119" y="365"/>
                </a:cxn>
                <a:cxn ang="0">
                  <a:pos x="267" y="393"/>
                </a:cxn>
                <a:cxn ang="0">
                  <a:pos x="756" y="99"/>
                </a:cxn>
                <a:cxn ang="0">
                  <a:pos x="805" y="78"/>
                </a:cxn>
                <a:cxn ang="0">
                  <a:pos x="791" y="68"/>
                </a:cxn>
                <a:cxn ang="0">
                  <a:pos x="807" y="34"/>
                </a:cxn>
                <a:cxn ang="0">
                  <a:pos x="783" y="45"/>
                </a:cxn>
                <a:cxn ang="0">
                  <a:pos x="754" y="98"/>
                </a:cxn>
              </a:cxnLst>
              <a:rect l="0" t="0" r="r" b="b"/>
              <a:pathLst>
                <a:path w="921" h="393">
                  <a:moveTo>
                    <a:pt x="910" y="2"/>
                  </a:moveTo>
                  <a:cubicBezTo>
                    <a:pt x="906" y="3"/>
                    <a:pt x="902" y="6"/>
                    <a:pt x="898" y="12"/>
                  </a:cubicBezTo>
                  <a:cubicBezTo>
                    <a:pt x="896" y="14"/>
                    <a:pt x="892" y="21"/>
                    <a:pt x="890" y="26"/>
                  </a:cubicBezTo>
                  <a:cubicBezTo>
                    <a:pt x="886" y="29"/>
                    <a:pt x="885" y="31"/>
                    <a:pt x="882" y="34"/>
                  </a:cubicBezTo>
                  <a:cubicBezTo>
                    <a:pt x="879" y="37"/>
                    <a:pt x="875" y="42"/>
                    <a:pt x="874" y="43"/>
                  </a:cubicBezTo>
                  <a:cubicBezTo>
                    <a:pt x="872" y="50"/>
                    <a:pt x="865" y="65"/>
                    <a:pt x="865" y="65"/>
                  </a:cubicBezTo>
                  <a:cubicBezTo>
                    <a:pt x="866" y="58"/>
                    <a:pt x="872" y="41"/>
                    <a:pt x="873" y="37"/>
                  </a:cubicBezTo>
                  <a:cubicBezTo>
                    <a:pt x="874" y="33"/>
                    <a:pt x="872" y="27"/>
                    <a:pt x="872" y="23"/>
                  </a:cubicBezTo>
                  <a:cubicBezTo>
                    <a:pt x="871" y="19"/>
                    <a:pt x="871" y="15"/>
                    <a:pt x="871" y="12"/>
                  </a:cubicBezTo>
                  <a:cubicBezTo>
                    <a:pt x="871" y="10"/>
                    <a:pt x="873" y="0"/>
                    <a:pt x="869" y="1"/>
                  </a:cubicBezTo>
                  <a:cubicBezTo>
                    <a:pt x="866" y="1"/>
                    <a:pt x="860" y="3"/>
                    <a:pt x="858" y="12"/>
                  </a:cubicBezTo>
                  <a:cubicBezTo>
                    <a:pt x="857" y="18"/>
                    <a:pt x="858" y="27"/>
                    <a:pt x="857" y="38"/>
                  </a:cubicBezTo>
                  <a:cubicBezTo>
                    <a:pt x="857" y="40"/>
                    <a:pt x="855" y="43"/>
                    <a:pt x="854" y="50"/>
                  </a:cubicBezTo>
                  <a:cubicBezTo>
                    <a:pt x="852" y="57"/>
                    <a:pt x="850" y="68"/>
                    <a:pt x="848" y="76"/>
                  </a:cubicBezTo>
                  <a:cubicBezTo>
                    <a:pt x="848" y="73"/>
                    <a:pt x="851" y="56"/>
                    <a:pt x="851" y="49"/>
                  </a:cubicBezTo>
                  <a:cubicBezTo>
                    <a:pt x="852" y="42"/>
                    <a:pt x="846" y="20"/>
                    <a:pt x="845" y="17"/>
                  </a:cubicBezTo>
                  <a:cubicBezTo>
                    <a:pt x="845" y="14"/>
                    <a:pt x="844" y="13"/>
                    <a:pt x="842" y="13"/>
                  </a:cubicBezTo>
                  <a:cubicBezTo>
                    <a:pt x="837" y="12"/>
                    <a:pt x="832" y="20"/>
                    <a:pt x="833" y="31"/>
                  </a:cubicBezTo>
                  <a:cubicBezTo>
                    <a:pt x="834" y="34"/>
                    <a:pt x="838" y="44"/>
                    <a:pt x="838" y="49"/>
                  </a:cubicBezTo>
                  <a:cubicBezTo>
                    <a:pt x="837" y="54"/>
                    <a:pt x="835" y="60"/>
                    <a:pt x="834" y="63"/>
                  </a:cubicBezTo>
                  <a:cubicBezTo>
                    <a:pt x="834" y="70"/>
                    <a:pt x="833" y="80"/>
                    <a:pt x="832" y="85"/>
                  </a:cubicBezTo>
                  <a:cubicBezTo>
                    <a:pt x="833" y="81"/>
                    <a:pt x="832" y="62"/>
                    <a:pt x="832" y="59"/>
                  </a:cubicBezTo>
                  <a:cubicBezTo>
                    <a:pt x="831" y="56"/>
                    <a:pt x="826" y="43"/>
                    <a:pt x="823" y="35"/>
                  </a:cubicBezTo>
                  <a:cubicBezTo>
                    <a:pt x="822" y="32"/>
                    <a:pt x="820" y="32"/>
                    <a:pt x="818" y="33"/>
                  </a:cubicBezTo>
                  <a:cubicBezTo>
                    <a:pt x="812" y="36"/>
                    <a:pt x="812" y="47"/>
                    <a:pt x="813" y="52"/>
                  </a:cubicBezTo>
                  <a:cubicBezTo>
                    <a:pt x="814" y="54"/>
                    <a:pt x="817" y="62"/>
                    <a:pt x="819" y="69"/>
                  </a:cubicBezTo>
                  <a:cubicBezTo>
                    <a:pt x="815" y="100"/>
                    <a:pt x="808" y="102"/>
                    <a:pt x="808" y="102"/>
                  </a:cubicBezTo>
                  <a:cubicBezTo>
                    <a:pt x="808" y="102"/>
                    <a:pt x="806" y="104"/>
                    <a:pt x="798" y="105"/>
                  </a:cubicBezTo>
                  <a:cubicBezTo>
                    <a:pt x="784" y="108"/>
                    <a:pt x="759" y="114"/>
                    <a:pt x="752" y="107"/>
                  </a:cubicBezTo>
                  <a:cubicBezTo>
                    <a:pt x="752" y="107"/>
                    <a:pt x="751" y="106"/>
                    <a:pt x="750" y="107"/>
                  </a:cubicBezTo>
                  <a:cubicBezTo>
                    <a:pt x="748" y="108"/>
                    <a:pt x="730" y="124"/>
                    <a:pt x="719" y="132"/>
                  </a:cubicBezTo>
                  <a:cubicBezTo>
                    <a:pt x="684" y="158"/>
                    <a:pt x="661" y="165"/>
                    <a:pt x="633" y="184"/>
                  </a:cubicBezTo>
                  <a:cubicBezTo>
                    <a:pt x="602" y="234"/>
                    <a:pt x="572" y="250"/>
                    <a:pt x="533" y="261"/>
                  </a:cubicBezTo>
                  <a:cubicBezTo>
                    <a:pt x="516" y="266"/>
                    <a:pt x="500" y="265"/>
                    <a:pt x="496" y="256"/>
                  </a:cubicBezTo>
                  <a:cubicBezTo>
                    <a:pt x="489" y="235"/>
                    <a:pt x="517" y="224"/>
                    <a:pt x="536" y="221"/>
                  </a:cubicBezTo>
                  <a:cubicBezTo>
                    <a:pt x="537" y="221"/>
                    <a:pt x="537" y="219"/>
                    <a:pt x="536" y="219"/>
                  </a:cubicBezTo>
                  <a:cubicBezTo>
                    <a:pt x="527" y="214"/>
                    <a:pt x="516" y="211"/>
                    <a:pt x="503" y="211"/>
                  </a:cubicBezTo>
                  <a:cubicBezTo>
                    <a:pt x="405" y="209"/>
                    <a:pt x="313" y="326"/>
                    <a:pt x="322" y="389"/>
                  </a:cubicBezTo>
                  <a:cubicBezTo>
                    <a:pt x="322" y="390"/>
                    <a:pt x="322" y="392"/>
                    <a:pt x="322" y="393"/>
                  </a:cubicBezTo>
                  <a:cubicBezTo>
                    <a:pt x="423" y="393"/>
                    <a:pt x="423" y="393"/>
                    <a:pt x="423" y="393"/>
                  </a:cubicBezTo>
                  <a:cubicBezTo>
                    <a:pt x="437" y="380"/>
                    <a:pt x="452" y="363"/>
                    <a:pt x="467" y="342"/>
                  </a:cubicBezTo>
                  <a:cubicBezTo>
                    <a:pt x="467" y="342"/>
                    <a:pt x="440" y="347"/>
                    <a:pt x="418" y="346"/>
                  </a:cubicBezTo>
                  <a:cubicBezTo>
                    <a:pt x="418" y="346"/>
                    <a:pt x="448" y="340"/>
                    <a:pt x="491" y="311"/>
                  </a:cubicBezTo>
                  <a:cubicBezTo>
                    <a:pt x="562" y="329"/>
                    <a:pt x="626" y="237"/>
                    <a:pt x="645" y="268"/>
                  </a:cubicBezTo>
                  <a:cubicBezTo>
                    <a:pt x="645" y="269"/>
                    <a:pt x="647" y="268"/>
                    <a:pt x="647" y="268"/>
                  </a:cubicBezTo>
                  <a:cubicBezTo>
                    <a:pt x="704" y="229"/>
                    <a:pt x="726" y="180"/>
                    <a:pt x="766" y="146"/>
                  </a:cubicBezTo>
                  <a:cubicBezTo>
                    <a:pt x="784" y="131"/>
                    <a:pt x="787" y="125"/>
                    <a:pt x="818" y="117"/>
                  </a:cubicBezTo>
                  <a:cubicBezTo>
                    <a:pt x="827" y="114"/>
                    <a:pt x="827" y="111"/>
                    <a:pt x="830" y="108"/>
                  </a:cubicBezTo>
                  <a:cubicBezTo>
                    <a:pt x="834" y="103"/>
                    <a:pt x="840" y="107"/>
                    <a:pt x="844" y="100"/>
                  </a:cubicBezTo>
                  <a:cubicBezTo>
                    <a:pt x="846" y="97"/>
                    <a:pt x="844" y="92"/>
                    <a:pt x="853" y="91"/>
                  </a:cubicBezTo>
                  <a:cubicBezTo>
                    <a:pt x="861" y="89"/>
                    <a:pt x="862" y="81"/>
                    <a:pt x="866" y="77"/>
                  </a:cubicBezTo>
                  <a:cubicBezTo>
                    <a:pt x="876" y="65"/>
                    <a:pt x="875" y="66"/>
                    <a:pt x="884" y="56"/>
                  </a:cubicBezTo>
                  <a:cubicBezTo>
                    <a:pt x="888" y="52"/>
                    <a:pt x="901" y="35"/>
                    <a:pt x="903" y="33"/>
                  </a:cubicBezTo>
                  <a:cubicBezTo>
                    <a:pt x="905" y="29"/>
                    <a:pt x="909" y="16"/>
                    <a:pt x="915" y="9"/>
                  </a:cubicBezTo>
                  <a:cubicBezTo>
                    <a:pt x="921" y="3"/>
                    <a:pt x="916" y="0"/>
                    <a:pt x="910" y="2"/>
                  </a:cubicBezTo>
                  <a:close/>
                  <a:moveTo>
                    <a:pt x="417" y="125"/>
                  </a:moveTo>
                  <a:cubicBezTo>
                    <a:pt x="418" y="125"/>
                    <a:pt x="419" y="125"/>
                    <a:pt x="420" y="124"/>
                  </a:cubicBezTo>
                  <a:cubicBezTo>
                    <a:pt x="422" y="122"/>
                    <a:pt x="425" y="119"/>
                    <a:pt x="425" y="117"/>
                  </a:cubicBezTo>
                  <a:cubicBezTo>
                    <a:pt x="425" y="113"/>
                    <a:pt x="419" y="107"/>
                    <a:pt x="409" y="107"/>
                  </a:cubicBezTo>
                  <a:cubicBezTo>
                    <a:pt x="405" y="106"/>
                    <a:pt x="404" y="107"/>
                    <a:pt x="401" y="109"/>
                  </a:cubicBezTo>
                  <a:cubicBezTo>
                    <a:pt x="398" y="113"/>
                    <a:pt x="401" y="121"/>
                    <a:pt x="402" y="123"/>
                  </a:cubicBezTo>
                  <a:cubicBezTo>
                    <a:pt x="410" y="123"/>
                    <a:pt x="415" y="125"/>
                    <a:pt x="417" y="125"/>
                  </a:cubicBezTo>
                  <a:close/>
                  <a:moveTo>
                    <a:pt x="343" y="106"/>
                  </a:moveTo>
                  <a:cubicBezTo>
                    <a:pt x="343" y="106"/>
                    <a:pt x="347" y="110"/>
                    <a:pt x="356" y="110"/>
                  </a:cubicBezTo>
                  <a:cubicBezTo>
                    <a:pt x="366" y="110"/>
                    <a:pt x="370" y="112"/>
                    <a:pt x="372" y="115"/>
                  </a:cubicBezTo>
                  <a:cubicBezTo>
                    <a:pt x="372" y="134"/>
                    <a:pt x="362" y="147"/>
                    <a:pt x="355" y="147"/>
                  </a:cubicBezTo>
                  <a:cubicBezTo>
                    <a:pt x="353" y="147"/>
                    <a:pt x="352" y="146"/>
                    <a:pt x="353" y="145"/>
                  </a:cubicBezTo>
                  <a:cubicBezTo>
                    <a:pt x="353" y="142"/>
                    <a:pt x="353" y="138"/>
                    <a:pt x="351" y="135"/>
                  </a:cubicBezTo>
                  <a:cubicBezTo>
                    <a:pt x="348" y="131"/>
                    <a:pt x="346" y="128"/>
                    <a:pt x="339" y="125"/>
                  </a:cubicBezTo>
                  <a:cubicBezTo>
                    <a:pt x="338" y="124"/>
                    <a:pt x="335" y="123"/>
                    <a:pt x="335" y="119"/>
                  </a:cubicBezTo>
                  <a:cubicBezTo>
                    <a:pt x="335" y="112"/>
                    <a:pt x="343" y="106"/>
                    <a:pt x="343" y="106"/>
                  </a:cubicBezTo>
                  <a:close/>
                  <a:moveTo>
                    <a:pt x="435" y="213"/>
                  </a:moveTo>
                  <a:cubicBezTo>
                    <a:pt x="437" y="212"/>
                    <a:pt x="437" y="211"/>
                    <a:pt x="435" y="211"/>
                  </a:cubicBezTo>
                  <a:cubicBezTo>
                    <a:pt x="410" y="214"/>
                    <a:pt x="385" y="223"/>
                    <a:pt x="361" y="234"/>
                  </a:cubicBezTo>
                  <a:cubicBezTo>
                    <a:pt x="360" y="232"/>
                    <a:pt x="360" y="231"/>
                    <a:pt x="360" y="227"/>
                  </a:cubicBezTo>
                  <a:cubicBezTo>
                    <a:pt x="360" y="220"/>
                    <a:pt x="361" y="209"/>
                    <a:pt x="369" y="209"/>
                  </a:cubicBezTo>
                  <a:cubicBezTo>
                    <a:pt x="387" y="209"/>
                    <a:pt x="397" y="199"/>
                    <a:pt x="397" y="199"/>
                  </a:cubicBezTo>
                  <a:cubicBezTo>
                    <a:pt x="397" y="199"/>
                    <a:pt x="370" y="195"/>
                    <a:pt x="372" y="183"/>
                  </a:cubicBezTo>
                  <a:cubicBezTo>
                    <a:pt x="373" y="180"/>
                    <a:pt x="375" y="178"/>
                    <a:pt x="378" y="179"/>
                  </a:cubicBezTo>
                  <a:cubicBezTo>
                    <a:pt x="388" y="181"/>
                    <a:pt x="392" y="172"/>
                    <a:pt x="392" y="172"/>
                  </a:cubicBezTo>
                  <a:cubicBezTo>
                    <a:pt x="392" y="172"/>
                    <a:pt x="382" y="170"/>
                    <a:pt x="378" y="167"/>
                  </a:cubicBezTo>
                  <a:cubicBezTo>
                    <a:pt x="377" y="166"/>
                    <a:pt x="376" y="165"/>
                    <a:pt x="377" y="163"/>
                  </a:cubicBezTo>
                  <a:cubicBezTo>
                    <a:pt x="379" y="162"/>
                    <a:pt x="381" y="160"/>
                    <a:pt x="384" y="161"/>
                  </a:cubicBezTo>
                  <a:cubicBezTo>
                    <a:pt x="392" y="163"/>
                    <a:pt x="397" y="164"/>
                    <a:pt x="400" y="164"/>
                  </a:cubicBezTo>
                  <a:cubicBezTo>
                    <a:pt x="402" y="164"/>
                    <a:pt x="403" y="162"/>
                    <a:pt x="401" y="162"/>
                  </a:cubicBezTo>
                  <a:cubicBezTo>
                    <a:pt x="398" y="160"/>
                    <a:pt x="394" y="156"/>
                    <a:pt x="388" y="153"/>
                  </a:cubicBezTo>
                  <a:cubicBezTo>
                    <a:pt x="397" y="148"/>
                    <a:pt x="403" y="140"/>
                    <a:pt x="403" y="140"/>
                  </a:cubicBezTo>
                  <a:cubicBezTo>
                    <a:pt x="403" y="140"/>
                    <a:pt x="400" y="141"/>
                    <a:pt x="396" y="139"/>
                  </a:cubicBezTo>
                  <a:cubicBezTo>
                    <a:pt x="390" y="136"/>
                    <a:pt x="390" y="109"/>
                    <a:pt x="386" y="103"/>
                  </a:cubicBezTo>
                  <a:cubicBezTo>
                    <a:pt x="382" y="96"/>
                    <a:pt x="374" y="90"/>
                    <a:pt x="369" y="88"/>
                  </a:cubicBezTo>
                  <a:cubicBezTo>
                    <a:pt x="362" y="85"/>
                    <a:pt x="356" y="84"/>
                    <a:pt x="353" y="81"/>
                  </a:cubicBezTo>
                  <a:cubicBezTo>
                    <a:pt x="347" y="75"/>
                    <a:pt x="357" y="39"/>
                    <a:pt x="319" y="39"/>
                  </a:cubicBezTo>
                  <a:cubicBezTo>
                    <a:pt x="295" y="39"/>
                    <a:pt x="279" y="58"/>
                    <a:pt x="275" y="77"/>
                  </a:cubicBezTo>
                  <a:cubicBezTo>
                    <a:pt x="274" y="84"/>
                    <a:pt x="275" y="91"/>
                    <a:pt x="275" y="91"/>
                  </a:cubicBezTo>
                  <a:cubicBezTo>
                    <a:pt x="275" y="91"/>
                    <a:pt x="295" y="87"/>
                    <a:pt x="302" y="107"/>
                  </a:cubicBezTo>
                  <a:cubicBezTo>
                    <a:pt x="296" y="101"/>
                    <a:pt x="290" y="98"/>
                    <a:pt x="288" y="98"/>
                  </a:cubicBezTo>
                  <a:cubicBezTo>
                    <a:pt x="281" y="97"/>
                    <a:pt x="276" y="101"/>
                    <a:pt x="275" y="108"/>
                  </a:cubicBezTo>
                  <a:cubicBezTo>
                    <a:pt x="271" y="128"/>
                    <a:pt x="291" y="145"/>
                    <a:pt x="293" y="147"/>
                  </a:cubicBezTo>
                  <a:cubicBezTo>
                    <a:pt x="289" y="187"/>
                    <a:pt x="307" y="212"/>
                    <a:pt x="308" y="244"/>
                  </a:cubicBezTo>
                  <a:cubicBezTo>
                    <a:pt x="309" y="265"/>
                    <a:pt x="295" y="274"/>
                    <a:pt x="292" y="276"/>
                  </a:cubicBezTo>
                  <a:cubicBezTo>
                    <a:pt x="275" y="293"/>
                    <a:pt x="271" y="300"/>
                    <a:pt x="266" y="314"/>
                  </a:cubicBezTo>
                  <a:cubicBezTo>
                    <a:pt x="266" y="303"/>
                    <a:pt x="269" y="289"/>
                    <a:pt x="278" y="272"/>
                  </a:cubicBezTo>
                  <a:cubicBezTo>
                    <a:pt x="279" y="271"/>
                    <a:pt x="279" y="270"/>
                    <a:pt x="277" y="271"/>
                  </a:cubicBezTo>
                  <a:cubicBezTo>
                    <a:pt x="269" y="275"/>
                    <a:pt x="254" y="284"/>
                    <a:pt x="248" y="289"/>
                  </a:cubicBezTo>
                  <a:cubicBezTo>
                    <a:pt x="242" y="296"/>
                    <a:pt x="235" y="302"/>
                    <a:pt x="229" y="309"/>
                  </a:cubicBezTo>
                  <a:cubicBezTo>
                    <a:pt x="220" y="312"/>
                    <a:pt x="205" y="318"/>
                    <a:pt x="186" y="332"/>
                  </a:cubicBezTo>
                  <a:cubicBezTo>
                    <a:pt x="170" y="343"/>
                    <a:pt x="160" y="364"/>
                    <a:pt x="160" y="364"/>
                  </a:cubicBezTo>
                  <a:cubicBezTo>
                    <a:pt x="160" y="364"/>
                    <a:pt x="143" y="363"/>
                    <a:pt x="119" y="365"/>
                  </a:cubicBezTo>
                  <a:cubicBezTo>
                    <a:pt x="67" y="369"/>
                    <a:pt x="0" y="393"/>
                    <a:pt x="0" y="393"/>
                  </a:cubicBezTo>
                  <a:cubicBezTo>
                    <a:pt x="267" y="393"/>
                    <a:pt x="267" y="393"/>
                    <a:pt x="267" y="393"/>
                  </a:cubicBezTo>
                  <a:cubicBezTo>
                    <a:pt x="272" y="323"/>
                    <a:pt x="364" y="236"/>
                    <a:pt x="435" y="213"/>
                  </a:cubicBezTo>
                  <a:close/>
                  <a:moveTo>
                    <a:pt x="756" y="99"/>
                  </a:moveTo>
                  <a:cubicBezTo>
                    <a:pt x="764" y="95"/>
                    <a:pt x="775" y="94"/>
                    <a:pt x="786" y="88"/>
                  </a:cubicBezTo>
                  <a:cubicBezTo>
                    <a:pt x="793" y="85"/>
                    <a:pt x="795" y="84"/>
                    <a:pt x="805" y="78"/>
                  </a:cubicBezTo>
                  <a:cubicBezTo>
                    <a:pt x="806" y="77"/>
                    <a:pt x="806" y="76"/>
                    <a:pt x="804" y="76"/>
                  </a:cubicBezTo>
                  <a:cubicBezTo>
                    <a:pt x="799" y="76"/>
                    <a:pt x="791" y="74"/>
                    <a:pt x="791" y="68"/>
                  </a:cubicBezTo>
                  <a:cubicBezTo>
                    <a:pt x="790" y="62"/>
                    <a:pt x="792" y="55"/>
                    <a:pt x="797" y="49"/>
                  </a:cubicBezTo>
                  <a:cubicBezTo>
                    <a:pt x="800" y="46"/>
                    <a:pt x="807" y="40"/>
                    <a:pt x="807" y="34"/>
                  </a:cubicBezTo>
                  <a:cubicBezTo>
                    <a:pt x="807" y="23"/>
                    <a:pt x="802" y="22"/>
                    <a:pt x="797" y="22"/>
                  </a:cubicBezTo>
                  <a:cubicBezTo>
                    <a:pt x="797" y="32"/>
                    <a:pt x="787" y="41"/>
                    <a:pt x="783" y="45"/>
                  </a:cubicBezTo>
                  <a:cubicBezTo>
                    <a:pt x="771" y="60"/>
                    <a:pt x="759" y="65"/>
                    <a:pt x="758" y="80"/>
                  </a:cubicBezTo>
                  <a:cubicBezTo>
                    <a:pt x="758" y="85"/>
                    <a:pt x="755" y="94"/>
                    <a:pt x="754" y="98"/>
                  </a:cubicBezTo>
                  <a:cubicBezTo>
                    <a:pt x="754" y="100"/>
                    <a:pt x="755" y="100"/>
                    <a:pt x="756" y="99"/>
                  </a:cubicBezTo>
                  <a:close/>
                </a:path>
              </a:pathLst>
            </a:custGeom>
            <a:blipFill dpi="0" rotWithShape="1">
              <a:blip r:embed="rId3"/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23" name="Group 33"/>
            <p:cNvGrpSpPr/>
            <p:nvPr/>
          </p:nvGrpSpPr>
          <p:grpSpPr bwMode="black">
            <a:xfrm>
              <a:off x="1430338" y="-1666875"/>
              <a:ext cx="4968876" cy="7239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24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cxnSp>
        <p:nvCxnSpPr>
          <p:cNvPr id="34" name="Straight Connector 33"/>
          <p:cNvCxnSpPr/>
          <p:nvPr userDrawn="1"/>
        </p:nvCxnSpPr>
        <p:spPr bwMode="black">
          <a:xfrm>
            <a:off x="0" y="2372940"/>
            <a:ext cx="9144000" cy="0"/>
          </a:xfrm>
          <a:prstGeom prst="line">
            <a:avLst/>
          </a:prstGeom>
          <a:ln w="6350">
            <a:solidFill>
              <a:srgbClr val="005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itle 1"/>
          <p:cNvSpPr>
            <a:spLocks noGrp="1"/>
          </p:cNvSpPr>
          <p:nvPr>
            <p:ph type="ctrTitle"/>
          </p:nvPr>
        </p:nvSpPr>
        <p:spPr>
          <a:xfrm>
            <a:off x="359999" y="360000"/>
            <a:ext cx="7298102" cy="10878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ts val="3000"/>
              </a:lnSpc>
              <a:spcBef>
                <a:spcPts val="0"/>
              </a:spcBef>
              <a:defRPr lang="en-GB" sz="3000" b="1" kern="0">
                <a:solidFill>
                  <a:srgbClr val="00519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4598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9" Type="http://schemas.openxmlformats.org/officeDocument/2006/relationships/slideLayout" Target="../slideLayouts/slideLayout93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34" Type="http://schemas.openxmlformats.org/officeDocument/2006/relationships/slideLayout" Target="../slideLayouts/slideLayout88.xml"/><Relationship Id="rId42" Type="http://schemas.openxmlformats.org/officeDocument/2006/relationships/slideLayout" Target="../slideLayouts/slideLayout96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87.xml"/><Relationship Id="rId38" Type="http://schemas.openxmlformats.org/officeDocument/2006/relationships/slideLayout" Target="../slideLayouts/slideLayout92.xml"/><Relationship Id="rId46" Type="http://schemas.openxmlformats.org/officeDocument/2006/relationships/theme" Target="../theme/theme2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slideLayout" Target="../slideLayouts/slideLayout83.xml"/><Relationship Id="rId41" Type="http://schemas.openxmlformats.org/officeDocument/2006/relationships/slideLayout" Target="../slideLayouts/slideLayout95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37" Type="http://schemas.openxmlformats.org/officeDocument/2006/relationships/slideLayout" Target="../slideLayouts/slideLayout91.xml"/><Relationship Id="rId40" Type="http://schemas.openxmlformats.org/officeDocument/2006/relationships/slideLayout" Target="../slideLayouts/slideLayout94.xml"/><Relationship Id="rId45" Type="http://schemas.openxmlformats.org/officeDocument/2006/relationships/slideLayout" Target="../slideLayouts/slideLayout99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31" Type="http://schemas.openxmlformats.org/officeDocument/2006/relationships/slideLayout" Target="../slideLayouts/slideLayout85.xml"/><Relationship Id="rId44" Type="http://schemas.openxmlformats.org/officeDocument/2006/relationships/slideLayout" Target="../slideLayouts/slideLayout98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slideLayout" Target="../slideLayouts/slideLayout89.xml"/><Relationship Id="rId43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57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" name="think-cell Slide" r:id="rId58" imgW="357" imgH="357" progId="">
                  <p:embed/>
                </p:oleObj>
              </mc:Choice>
              <mc:Fallback>
                <p:oleObj name="think-cell Slide" r:id="rId58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 23"/>
          <p:cNvGrpSpPr/>
          <p:nvPr/>
        </p:nvGrpSpPr>
        <p:grpSpPr>
          <a:xfrm>
            <a:off x="0" y="6398813"/>
            <a:ext cx="9144000" cy="459187"/>
            <a:chOff x="0" y="6398814"/>
            <a:chExt cx="9144000" cy="459186"/>
          </a:xfrm>
        </p:grpSpPr>
        <p:sp>
          <p:nvSpPr>
            <p:cNvPr id="25" name="Rectangle 24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26" name="Rectangle 25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7" name="Rectangle 26"/>
          <p:cNvSpPr/>
          <p:nvPr/>
        </p:nvSpPr>
        <p:spPr bwMode="black">
          <a:xfrm>
            <a:off x="0" y="1425600"/>
            <a:ext cx="9144000" cy="10800"/>
          </a:xfrm>
          <a:prstGeom prst="rect">
            <a:avLst/>
          </a:prstGeom>
          <a:solidFill>
            <a:srgbClr val="B7B9BA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  <a:prstGeom prst="rect">
            <a:avLst/>
          </a:prstGeom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600145"/>
            <a:ext cx="8424000" cy="46085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49377" y="6597823"/>
            <a:ext cx="4130339" cy="2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 marL="0" algn="r" defTabSz="914400" rtl="0" eaLnBrk="1" latinLnBrk="0" hangingPunct="1">
              <a:defRPr lang="en-US" sz="1000" b="1" kern="1200" smtClean="0">
                <a:solidFill>
                  <a:srgbClr val="B7B9BA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 smtClean="0"/>
              <a:t>Business unit | Footer</a:t>
            </a:r>
            <a:endParaRPr lang="en-US" noProof="0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4000" y="6597823"/>
            <a:ext cx="252000" cy="2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 marL="0" algn="r" defTabSz="914400" rtl="0" eaLnBrk="1" latinLnBrk="0" hangingPunct="1">
              <a:defRPr lang="nl-NL" sz="1000" b="1" kern="1200" smtClean="0">
                <a:solidFill>
                  <a:srgbClr val="868688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37E2E77-CED1-4E84-91C2-4E0176ECD4FC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grpSp>
        <p:nvGrpSpPr>
          <p:cNvPr id="91" name="Group 33"/>
          <p:cNvGrpSpPr>
            <a:grpSpLocks noChangeAspect="1"/>
          </p:cNvGrpSpPr>
          <p:nvPr/>
        </p:nvGrpSpPr>
        <p:grpSpPr bwMode="black">
          <a:xfrm>
            <a:off x="7015590" y="372869"/>
            <a:ext cx="1779160" cy="2592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92" name="Freeform 24"/>
            <p:cNvSpPr>
              <a:spLocks/>
            </p:cNvSpPr>
            <p:nvPr/>
          </p:nvSpPr>
          <p:spPr bwMode="black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5"/>
            <p:cNvSpPr>
              <a:spLocks/>
            </p:cNvSpPr>
            <p:nvPr/>
          </p:nvSpPr>
          <p:spPr bwMode="black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6"/>
            <p:cNvSpPr>
              <a:spLocks/>
            </p:cNvSpPr>
            <p:nvPr/>
          </p:nvSpPr>
          <p:spPr bwMode="black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7"/>
            <p:cNvSpPr>
              <a:spLocks noEditPoints="1"/>
            </p:cNvSpPr>
            <p:nvPr/>
          </p:nvSpPr>
          <p:spPr bwMode="black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8"/>
            <p:cNvSpPr>
              <a:spLocks noEditPoints="1"/>
            </p:cNvSpPr>
            <p:nvPr/>
          </p:nvSpPr>
          <p:spPr bwMode="black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9"/>
            <p:cNvSpPr>
              <a:spLocks/>
            </p:cNvSpPr>
            <p:nvPr/>
          </p:nvSpPr>
          <p:spPr bwMode="black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30"/>
            <p:cNvSpPr>
              <a:spLocks noEditPoints="1"/>
            </p:cNvSpPr>
            <p:nvPr/>
          </p:nvSpPr>
          <p:spPr bwMode="black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1"/>
            <p:cNvSpPr>
              <a:spLocks noEditPoints="1"/>
            </p:cNvSpPr>
            <p:nvPr/>
          </p:nvSpPr>
          <p:spPr bwMode="black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2"/>
            <p:cNvSpPr>
              <a:spLocks noEditPoints="1"/>
            </p:cNvSpPr>
            <p:nvPr/>
          </p:nvSpPr>
          <p:spPr bwMode="black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33"/>
            <p:cNvSpPr>
              <a:spLocks/>
            </p:cNvSpPr>
            <p:nvPr/>
          </p:nvSpPr>
          <p:spPr bwMode="black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2" r:id="rId2"/>
    <p:sldLayoutId id="2147483700" r:id="rId3"/>
    <p:sldLayoutId id="2147483677" r:id="rId4"/>
    <p:sldLayoutId id="2147483676" r:id="rId5"/>
    <p:sldLayoutId id="2147483650" r:id="rId6"/>
    <p:sldLayoutId id="2147483651" r:id="rId7"/>
    <p:sldLayoutId id="2147483679" r:id="rId8"/>
    <p:sldLayoutId id="2147483680" r:id="rId9"/>
    <p:sldLayoutId id="2147483682" r:id="rId10"/>
    <p:sldLayoutId id="2147483663" r:id="rId11"/>
    <p:sldLayoutId id="2147483708" r:id="rId12"/>
    <p:sldLayoutId id="2147483652" r:id="rId13"/>
    <p:sldLayoutId id="2147483697" r:id="rId14"/>
    <p:sldLayoutId id="2147483684" r:id="rId15"/>
    <p:sldLayoutId id="2147483689" r:id="rId16"/>
    <p:sldLayoutId id="2147483709" r:id="rId17"/>
    <p:sldLayoutId id="2147483713" r:id="rId18"/>
    <p:sldLayoutId id="2147483714" r:id="rId19"/>
    <p:sldLayoutId id="2147483715" r:id="rId20"/>
    <p:sldLayoutId id="2147483665" r:id="rId21"/>
    <p:sldLayoutId id="2147483704" r:id="rId22"/>
    <p:sldLayoutId id="2147483703" r:id="rId23"/>
    <p:sldLayoutId id="2147483666" r:id="rId24"/>
    <p:sldLayoutId id="2147483664" r:id="rId25"/>
    <p:sldLayoutId id="2147483690" r:id="rId26"/>
    <p:sldLayoutId id="2147483692" r:id="rId27"/>
    <p:sldLayoutId id="2147483686" r:id="rId28"/>
    <p:sldLayoutId id="2147483660" r:id="rId29"/>
    <p:sldLayoutId id="2147483653" r:id="rId30"/>
    <p:sldLayoutId id="2147483716" r:id="rId31"/>
    <p:sldLayoutId id="2147483685" r:id="rId32"/>
    <p:sldLayoutId id="2147483717" r:id="rId33"/>
    <p:sldLayoutId id="2147483687" r:id="rId34"/>
    <p:sldLayoutId id="2147483693" r:id="rId35"/>
    <p:sldLayoutId id="2147483695" r:id="rId36"/>
    <p:sldLayoutId id="2147483694" r:id="rId37"/>
    <p:sldLayoutId id="2147483698" r:id="rId38"/>
    <p:sldLayoutId id="2147483699" r:id="rId39"/>
    <p:sldLayoutId id="2147483672" r:id="rId40"/>
    <p:sldLayoutId id="2147483673" r:id="rId41"/>
    <p:sldLayoutId id="2147483718" r:id="rId42"/>
    <p:sldLayoutId id="2147483719" r:id="rId43"/>
    <p:sldLayoutId id="2147483674" r:id="rId44"/>
    <p:sldLayoutId id="2147483669" r:id="rId45"/>
    <p:sldLayoutId id="2147483691" r:id="rId46"/>
    <p:sldLayoutId id="2147483670" r:id="rId47"/>
    <p:sldLayoutId id="2147483671" r:id="rId48"/>
    <p:sldLayoutId id="2147483654" r:id="rId49"/>
    <p:sldLayoutId id="2147483661" r:id="rId50"/>
    <p:sldLayoutId id="2147483701" r:id="rId51"/>
    <p:sldLayoutId id="2147483705" r:id="rId52"/>
    <p:sldLayoutId id="2147483655" r:id="rId53"/>
    <p:sldLayoutId id="2147483675" r:id="rId54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914400" rtl="0" eaLnBrk="1" latinLnBrk="0" hangingPunct="1">
        <a:lnSpc>
          <a:spcPts val="2500"/>
        </a:lnSpc>
        <a:spcBef>
          <a:spcPct val="0"/>
        </a:spcBef>
        <a:buNone/>
        <a:defRPr lang="en-GB" sz="2500" b="1" kern="0">
          <a:solidFill>
            <a:schemeClr val="accent1"/>
          </a:solidFill>
          <a:latin typeface="Arial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Arial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/>
          <p:cNvGrpSpPr/>
          <p:nvPr/>
        </p:nvGrpSpPr>
        <p:grpSpPr>
          <a:xfrm>
            <a:off x="0" y="6245752"/>
            <a:ext cx="9144000" cy="612248"/>
            <a:chOff x="0" y="6398814"/>
            <a:chExt cx="9144000" cy="459186"/>
          </a:xfrm>
        </p:grpSpPr>
        <p:sp>
          <p:nvSpPr>
            <p:cNvPr id="22" name="Rectangle 21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  <a:prstGeom prst="rect">
            <a:avLst/>
          </a:prstGeom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636183"/>
            <a:ext cx="8424000" cy="441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49379" y="6511096"/>
            <a:ext cx="4130339" cy="273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 marL="0" algn="r" defTabSz="914400" rtl="0" eaLnBrk="1" latinLnBrk="0" hangingPunct="1">
              <a:defRPr lang="en-US" sz="1000" b="1" kern="1200" smtClean="0">
                <a:solidFill>
                  <a:srgbClr val="B7B9BA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dirty="0"/>
              <a:t>Business unit | Footer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4000" y="6511096"/>
            <a:ext cx="252000" cy="273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 marL="0" algn="r" defTabSz="914400" rtl="0" eaLnBrk="1" latinLnBrk="0" hangingPunct="1">
              <a:defRPr lang="nl-NL" sz="1000" b="1" kern="1200" smtClean="0">
                <a:solidFill>
                  <a:srgbClr val="868688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37E2E77-CED1-4E84-91C2-4E0176ECD4F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26" name="Group 33"/>
          <p:cNvGrpSpPr>
            <a:grpSpLocks noChangeAspect="1"/>
          </p:cNvGrpSpPr>
          <p:nvPr/>
        </p:nvGrpSpPr>
        <p:grpSpPr bwMode="black">
          <a:xfrm>
            <a:off x="7015590" y="497159"/>
            <a:ext cx="1779160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27" name="Freeform 24"/>
            <p:cNvSpPr>
              <a:spLocks/>
            </p:cNvSpPr>
            <p:nvPr/>
          </p:nvSpPr>
          <p:spPr bwMode="black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25"/>
            <p:cNvSpPr>
              <a:spLocks/>
            </p:cNvSpPr>
            <p:nvPr/>
          </p:nvSpPr>
          <p:spPr bwMode="black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black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27"/>
            <p:cNvSpPr>
              <a:spLocks noEditPoints="1"/>
            </p:cNvSpPr>
            <p:nvPr/>
          </p:nvSpPr>
          <p:spPr bwMode="black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" name="Freeform 28"/>
            <p:cNvSpPr>
              <a:spLocks noEditPoints="1"/>
            </p:cNvSpPr>
            <p:nvPr/>
          </p:nvSpPr>
          <p:spPr bwMode="black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" name="Freeform 29"/>
            <p:cNvSpPr>
              <a:spLocks/>
            </p:cNvSpPr>
            <p:nvPr/>
          </p:nvSpPr>
          <p:spPr bwMode="black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30"/>
            <p:cNvSpPr>
              <a:spLocks noEditPoints="1"/>
            </p:cNvSpPr>
            <p:nvPr/>
          </p:nvSpPr>
          <p:spPr bwMode="black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31"/>
            <p:cNvSpPr>
              <a:spLocks noEditPoints="1"/>
            </p:cNvSpPr>
            <p:nvPr/>
          </p:nvSpPr>
          <p:spPr bwMode="black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32"/>
            <p:cNvSpPr>
              <a:spLocks noEditPoints="1"/>
            </p:cNvSpPr>
            <p:nvPr/>
          </p:nvSpPr>
          <p:spPr bwMode="black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" name="Freeform 33"/>
            <p:cNvSpPr>
              <a:spLocks/>
            </p:cNvSpPr>
            <p:nvPr/>
          </p:nvSpPr>
          <p:spPr bwMode="black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3" name="Rectangle 22"/>
          <p:cNvSpPr/>
          <p:nvPr/>
        </p:nvSpPr>
        <p:spPr bwMode="black">
          <a:xfrm>
            <a:off x="0" y="1425600"/>
            <a:ext cx="9144000" cy="7200"/>
          </a:xfrm>
          <a:prstGeom prst="rect">
            <a:avLst/>
          </a:prstGeom>
          <a:solidFill>
            <a:srgbClr val="B7B9BA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580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  <p:sldLayoutId id="2147483741" r:id="rId21"/>
    <p:sldLayoutId id="2147483742" r:id="rId22"/>
    <p:sldLayoutId id="2147483743" r:id="rId23"/>
    <p:sldLayoutId id="2147483744" r:id="rId24"/>
    <p:sldLayoutId id="2147483745" r:id="rId25"/>
    <p:sldLayoutId id="2147483746" r:id="rId26"/>
    <p:sldLayoutId id="2147483747" r:id="rId27"/>
    <p:sldLayoutId id="2147483748" r:id="rId28"/>
    <p:sldLayoutId id="2147483749" r:id="rId29"/>
    <p:sldLayoutId id="2147483750" r:id="rId30"/>
    <p:sldLayoutId id="2147483751" r:id="rId31"/>
    <p:sldLayoutId id="2147483752" r:id="rId32"/>
    <p:sldLayoutId id="2147483753" r:id="rId33"/>
    <p:sldLayoutId id="2147483754" r:id="rId34"/>
    <p:sldLayoutId id="2147483755" r:id="rId35"/>
    <p:sldLayoutId id="2147483756" r:id="rId36"/>
    <p:sldLayoutId id="2147483757" r:id="rId37"/>
    <p:sldLayoutId id="2147483758" r:id="rId38"/>
    <p:sldLayoutId id="2147483759" r:id="rId39"/>
    <p:sldLayoutId id="2147483760" r:id="rId40"/>
    <p:sldLayoutId id="2147483761" r:id="rId41"/>
    <p:sldLayoutId id="2147483762" r:id="rId42"/>
    <p:sldLayoutId id="2147483763" r:id="rId43"/>
    <p:sldLayoutId id="2147483764" r:id="rId44"/>
    <p:sldLayoutId id="2147483765" r:id="rId45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914400" rtl="0" eaLnBrk="1" latinLnBrk="0" hangingPunct="1">
        <a:lnSpc>
          <a:spcPts val="2500"/>
        </a:lnSpc>
        <a:spcBef>
          <a:spcPct val="0"/>
        </a:spcBef>
        <a:buNone/>
        <a:defRPr lang="en-GB" sz="2500" b="1" kern="0">
          <a:solidFill>
            <a:srgbClr val="005192"/>
          </a:solidFill>
          <a:latin typeface="Arial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400"/>
        </a:spcBef>
        <a:buClr>
          <a:schemeClr val="accent4"/>
        </a:buClr>
        <a:buFont typeface="Arial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slideLayout" Target="../slideLayouts/slideLayout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3.emf"/><Relationship Id="rId5" Type="http://schemas.openxmlformats.org/officeDocument/2006/relationships/package" Target="../embeddings/Microsoft_Excel_Worksheet1.xlsx"/><Relationship Id="rId4" Type="http://schemas.openxmlformats.org/officeDocument/2006/relationships/oleObject" Target="../embeddings/oleObject1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 err="1"/>
              <a:t>AkzoNobeli</a:t>
            </a:r>
            <a:r>
              <a:rPr lang="fi-FI" dirty="0"/>
              <a:t> ja Prangli </a:t>
            </a:r>
            <a:r>
              <a:rPr lang="fi-FI" dirty="0" err="1"/>
              <a:t>saare</a:t>
            </a:r>
            <a:r>
              <a:rPr lang="fi-FI" dirty="0"/>
              <a:t> </a:t>
            </a:r>
            <a:r>
              <a:rPr lang="fi-FI" dirty="0" err="1"/>
              <a:t>ühisvärvimiste</a:t>
            </a:r>
            <a:r>
              <a:rPr lang="fi-FI" dirty="0"/>
              <a:t> </a:t>
            </a:r>
            <a:r>
              <a:rPr lang="fi-FI" dirty="0" err="1" smtClean="0"/>
              <a:t>traditsioon</a:t>
            </a:r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t-EE" dirty="0"/>
              <a:t>26.08.2017, Prangli saar</a:t>
            </a:r>
            <a:endParaRPr lang="en-US" dirty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7482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62" r="15462"/>
          <a:stretch>
            <a:fillRect/>
          </a:stretch>
        </p:blipFill>
        <p:spPr>
          <a:xfrm>
            <a:off x="5434642" y="3925020"/>
            <a:ext cx="3295291" cy="2473795"/>
          </a:xfr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smtClean="0">
                <a:solidFill>
                  <a:srgbClr val="0070C0"/>
                </a:solidFill>
              </a:rPr>
              <a:t>Prangli kiriku ühisvärvimine 2014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6387" name="Picture 3" descr="K:\Kommerts\Müük\Eesti\Müük 2017\Puitmajaliit\Prangli pildid\Prangli 201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036" y="1889185"/>
            <a:ext cx="4502989" cy="3916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8" name="Picture 4" descr="K:\Kommerts\Müük\Eesti\Müük 2017\Puitmajaliit\Prangli pildid\13626561_10154398934284269_7975234600269596135_n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4642" y="1570008"/>
            <a:ext cx="3295292" cy="2277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2285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3</a:t>
            </a:fld>
            <a:endParaRPr lang="nl-NL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t-EE" dirty="0" smtClean="0"/>
              <a:t>MSU </a:t>
            </a:r>
            <a:r>
              <a:rPr lang="et-EE" dirty="0" err="1" smtClean="0"/>
              <a:t>Baltics&amp;Ukraine</a:t>
            </a:r>
            <a:endParaRPr lang="nl-NL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smtClean="0">
                <a:solidFill>
                  <a:srgbClr val="0070C0"/>
                </a:solidFill>
              </a:rPr>
              <a:t>Prangli koolimaja ühisvärvimine 2015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5365" name="Picture 5" descr="C:\Users\allasa\AppData\Local\Microsoft\Windows\Temporary Internet Files\Content.Outlook\X1CSF9K3\Prangli 286 (3)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4388" y="2311881"/>
            <a:ext cx="4333874" cy="3812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0" name="Picture 2" descr="K:\Kommerts\Müük\Eesti\Müük 2017\Puitmajaliit\Prangli pildid\13482836_10154263378159269_4857058662428036624_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0" y="1509624"/>
            <a:ext cx="4300620" cy="3916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6752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4</a:t>
            </a:fld>
            <a:endParaRPr lang="nl-NL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Business unit | Footer</a:t>
            </a:r>
            <a:endParaRPr lang="nl-NL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2" descr="K:\Kommerts\Marketing\Sikkens\Logo\Sikkens_logo_comms_shape_cmyk_large.t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170" y="172454"/>
            <a:ext cx="2642510" cy="1071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34251913"/>
              </p:ext>
            </p:extLst>
          </p:nvPr>
        </p:nvGraphicFramePr>
        <p:xfrm>
          <a:off x="-27296" y="1539282"/>
          <a:ext cx="9280478" cy="542107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6" name="Worksheet" r:id="rId5" imgW="6458068" imgH="3533760" progId="Excel.Sheet.12">
                  <p:embed/>
                </p:oleObj>
              </mc:Choice>
              <mc:Fallback>
                <p:oleObj name="Worksheet" r:id="rId5" imgW="6458068" imgH="35337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27296" y="1539282"/>
                        <a:ext cx="9280478" cy="542107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45911" y="1910687"/>
            <a:ext cx="6428095" cy="324816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t-EE" sz="4800" b="1" dirty="0" err="1" smtClean="0">
                <a:solidFill>
                  <a:schemeClr val="accent4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ery</a:t>
            </a:r>
            <a:r>
              <a:rPr lang="et-EE" sz="4800" b="1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t-EE" sz="4800" b="1" dirty="0" err="1" smtClean="0">
                <a:solidFill>
                  <a:schemeClr val="accent4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ob</a:t>
            </a:r>
            <a:r>
              <a:rPr lang="et-EE" sz="4800" b="1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r>
              <a:rPr lang="et-EE" sz="4800" b="1" dirty="0" err="1" smtClean="0">
                <a:solidFill>
                  <a:schemeClr val="accent4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uld</a:t>
            </a:r>
            <a:r>
              <a:rPr lang="et-EE" sz="4800" b="1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r>
              <a:rPr lang="et-EE" sz="4800" b="1" dirty="0" err="1" smtClean="0">
                <a:solidFill>
                  <a:schemeClr val="accent4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</a:t>
            </a:r>
            <a:r>
              <a:rPr lang="et-EE" sz="4800" b="1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et-EE" sz="4800" b="1" dirty="0" err="1" smtClean="0">
                <a:solidFill>
                  <a:schemeClr val="accent4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ob</a:t>
            </a:r>
            <a:r>
              <a:rPr lang="et-EE" sz="4800" b="1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r>
              <a:rPr lang="et-EE" sz="4800" b="1" dirty="0" err="1" smtClean="0">
                <a:solidFill>
                  <a:schemeClr val="accent4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ll</a:t>
            </a:r>
            <a:r>
              <a:rPr lang="et-EE" sz="4800" b="1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t-EE" sz="4800" b="1" dirty="0" err="1" smtClean="0">
                <a:solidFill>
                  <a:schemeClr val="accent4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ne</a:t>
            </a:r>
            <a:r>
              <a:rPr lang="et-EE" sz="4800" b="1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4800" b="1" dirty="0" smtClean="0">
              <a:solidFill>
                <a:schemeClr val="accent4">
                  <a:lumMod val="20000"/>
                  <a:lumOff val="8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2776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5</a:t>
            </a:fld>
            <a:endParaRPr lang="nl-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t-EE" dirty="0" smtClean="0"/>
              <a:t>MSU </a:t>
            </a:r>
            <a:r>
              <a:rPr lang="et-EE" dirty="0" err="1" smtClean="0"/>
              <a:t>Baltics&amp;Ukraine</a:t>
            </a:r>
            <a:endParaRPr lang="nl-NL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78112" y="1411434"/>
            <a:ext cx="8424000" cy="4975719"/>
          </a:xfrm>
        </p:spPr>
        <p:txBody>
          <a:bodyPr/>
          <a:lstStyle/>
          <a:p>
            <a:r>
              <a:rPr lang="et-EE" sz="3200" dirty="0" smtClean="0"/>
              <a:t>RUBBOL FACADE SPECI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t-EE" sz="2000" b="0" dirty="0" smtClean="0"/>
              <a:t>Hea ilmastikukindlusega veepõhine puiduvärv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i-FI" sz="2000" b="0" dirty="0" err="1" smtClean="0"/>
              <a:t>Sisaldab</a:t>
            </a:r>
            <a:r>
              <a:rPr lang="fi-FI" sz="2000" b="0" dirty="0" smtClean="0"/>
              <a:t> </a:t>
            </a:r>
            <a:r>
              <a:rPr lang="fi-FI" sz="2000" b="0" dirty="0" err="1"/>
              <a:t>toimeaineid</a:t>
            </a:r>
            <a:r>
              <a:rPr lang="fi-FI" sz="2000" b="0" dirty="0"/>
              <a:t> </a:t>
            </a:r>
            <a:r>
              <a:rPr lang="fi-FI" sz="2000" b="0" dirty="0" err="1"/>
              <a:t>ennetamaks</a:t>
            </a:r>
            <a:r>
              <a:rPr lang="fi-FI" sz="2000" b="0" dirty="0"/>
              <a:t> </a:t>
            </a:r>
            <a:r>
              <a:rPr lang="fi-FI" sz="2000" b="0" dirty="0" err="1"/>
              <a:t>hallituse</a:t>
            </a:r>
            <a:r>
              <a:rPr lang="fi-FI" sz="2000" b="0" dirty="0"/>
              <a:t> </a:t>
            </a:r>
            <a:r>
              <a:rPr lang="fi-FI" sz="2000" b="0" dirty="0" err="1"/>
              <a:t>levikut</a:t>
            </a:r>
            <a:r>
              <a:rPr lang="fi-FI" sz="2000" b="0" dirty="0"/>
              <a:t> </a:t>
            </a:r>
            <a:r>
              <a:rPr lang="fi-FI" sz="2000" b="0" dirty="0" err="1"/>
              <a:t>värvitud</a:t>
            </a:r>
            <a:r>
              <a:rPr lang="fi-FI" sz="2000" b="0" dirty="0"/>
              <a:t> </a:t>
            </a:r>
            <a:r>
              <a:rPr lang="fi-FI" sz="2000" b="0" dirty="0" err="1" smtClean="0"/>
              <a:t>pinnal</a:t>
            </a:r>
            <a:endParaRPr lang="et-EE" sz="2000" b="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t-EE" sz="2000" b="0" dirty="0" smtClean="0"/>
              <a:t>V</a:t>
            </a:r>
            <a:r>
              <a:rPr lang="fi-FI" sz="2000" b="0" dirty="0" err="1" smtClean="0"/>
              <a:t>ähese</a:t>
            </a:r>
            <a:r>
              <a:rPr lang="fi-FI" sz="2000" b="0" dirty="0" smtClean="0"/>
              <a:t> </a:t>
            </a:r>
            <a:r>
              <a:rPr lang="fi-FI" sz="2000" b="0" dirty="0" err="1"/>
              <a:t>lõhnaga</a:t>
            </a:r>
            <a:r>
              <a:rPr lang="fi-FI" sz="2000" b="0" dirty="0"/>
              <a:t> </a:t>
            </a:r>
            <a:r>
              <a:rPr lang="et-EE" sz="2000" b="0" dirty="0" smtClean="0"/>
              <a:t>ja </a:t>
            </a:r>
            <a:r>
              <a:rPr lang="fi-FI" sz="2000" b="0" dirty="0" err="1" smtClean="0"/>
              <a:t>kiirelt</a:t>
            </a:r>
            <a:r>
              <a:rPr lang="fi-FI" sz="2000" b="0" dirty="0" smtClean="0"/>
              <a:t> </a:t>
            </a:r>
            <a:r>
              <a:rPr lang="fi-FI" sz="2000" b="0" dirty="0" err="1" smtClean="0"/>
              <a:t>kuivav</a:t>
            </a:r>
            <a:endParaRPr lang="et-EE" sz="2000" b="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t-EE" sz="2000" b="0" dirty="0" smtClean="0"/>
              <a:t>Sobib </a:t>
            </a:r>
            <a:r>
              <a:rPr lang="en-US" sz="2000" b="0" dirty="0" err="1" smtClean="0"/>
              <a:t>hööveldatud</a:t>
            </a:r>
            <a:r>
              <a:rPr lang="en-US" sz="2000" b="0" dirty="0"/>
              <a:t>, </a:t>
            </a:r>
            <a:r>
              <a:rPr lang="en-US" sz="2000" b="0" dirty="0" err="1"/>
              <a:t>peensaetud</a:t>
            </a:r>
            <a:r>
              <a:rPr lang="en-US" sz="2000" b="0" dirty="0"/>
              <a:t> ja </a:t>
            </a:r>
            <a:r>
              <a:rPr lang="en-US" sz="2000" b="0" dirty="0" err="1"/>
              <a:t>saetud</a:t>
            </a:r>
            <a:r>
              <a:rPr lang="en-US" sz="2000" b="0" dirty="0"/>
              <a:t> </a:t>
            </a:r>
            <a:r>
              <a:rPr lang="en-US" sz="2000" b="0" dirty="0" err="1" smtClean="0"/>
              <a:t>välispuitpindade</a:t>
            </a:r>
            <a:r>
              <a:rPr lang="et-EE" sz="2000" b="0" dirty="0" err="1" smtClean="0"/>
              <a:t>le</a:t>
            </a:r>
            <a:endParaRPr lang="et-EE" sz="2000" b="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t-EE" sz="2000" b="0" dirty="0" smtClean="0"/>
              <a:t>Pealekandmine: harjasseade, pihustusseade</a:t>
            </a:r>
            <a:endParaRPr lang="et-EE" sz="20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t-EE" sz="2000" b="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t-EE" sz="2000" b="0" dirty="0" err="1" smtClean="0"/>
              <a:t>Värikaardid</a:t>
            </a:r>
            <a:r>
              <a:rPr lang="et-EE" sz="2000" b="0" dirty="0" smtClean="0"/>
              <a:t>: ACC, RAL, NCS, </a:t>
            </a:r>
            <a:r>
              <a:rPr lang="et-EE" sz="2000" b="0" dirty="0" err="1" smtClean="0"/>
              <a:t>Symphony</a:t>
            </a:r>
            <a:r>
              <a:rPr lang="et-EE" sz="2000" b="0" dirty="0" smtClean="0"/>
              <a:t> j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t-EE" sz="2000" b="0" u="sng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t-EE" sz="2000" b="0" u="sng" dirty="0" smtClean="0"/>
              <a:t>Kattev</a:t>
            </a:r>
            <a:r>
              <a:rPr lang="et-EE" sz="2000" b="0" dirty="0" smtClean="0"/>
              <a:t> kui ka </a:t>
            </a:r>
            <a:r>
              <a:rPr lang="et-EE" sz="2000" b="0" u="sng" dirty="0" smtClean="0"/>
              <a:t>lasuurne</a:t>
            </a:r>
            <a:r>
              <a:rPr lang="et-EE" sz="2000" b="0" dirty="0" smtClean="0"/>
              <a:t> lahendu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t-EE" sz="24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t-EE" sz="2000" b="0" dirty="0" smtClean="0"/>
          </a:p>
          <a:p>
            <a:pPr marL="702900" lvl="2" indent="-342900">
              <a:spcBef>
                <a:spcPts val="0"/>
              </a:spcBef>
              <a:spcAft>
                <a:spcPts val="0"/>
              </a:spcAft>
            </a:pPr>
            <a:endParaRPr lang="et-EE" sz="1800" b="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t-EE" sz="2000" b="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2" descr="K:\Kommerts\Marketing\Sikkens\Logo\Sikkens_logo_comms_shape_cmyk_large.t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170" y="172454"/>
            <a:ext cx="2642510" cy="1071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58" name="Picture 2" descr="C:\Users\allasa\AppData\Local\Microsoft\Windows\Temporary Internet Files\Content.Outlook\X1CSF9K3\Ceetec a25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0688" y="4670496"/>
            <a:ext cx="3325312" cy="1716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3808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t-EE" dirty="0" smtClean="0"/>
              <a:t>Tänud kuulamast!</a:t>
            </a:r>
            <a:endParaRPr lang="en-US" dirty="0"/>
          </a:p>
        </p:txBody>
      </p:sp>
      <p:pic>
        <p:nvPicPr>
          <p:cNvPr id="20482" name="Picture 2" descr="C:\Users\allasa\AppData\Local\Microsoft\Windows\Temporary Internet Files\Content.Outlook\X1CSF9K3\VARVIMISSEADE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7" y="489396"/>
            <a:ext cx="5715000" cy="428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7934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N_Template_4x3_Blue">
  <a:themeElements>
    <a:clrScheme name="AN Red march 2013">
      <a:dk1>
        <a:srgbClr val="000000"/>
      </a:dk1>
      <a:lt1>
        <a:srgbClr val="FFFFFF"/>
      </a:lt1>
      <a:dk2>
        <a:srgbClr val="868688"/>
      </a:dk2>
      <a:lt2>
        <a:srgbClr val="B7B9BA"/>
      </a:lt2>
      <a:accent1>
        <a:srgbClr val="E4312C"/>
      </a:accent1>
      <a:accent2>
        <a:srgbClr val="C3004A"/>
      </a:accent2>
      <a:accent3>
        <a:srgbClr val="F2A6AA"/>
      </a:accent3>
      <a:accent4>
        <a:srgbClr val="F18E00"/>
      </a:accent4>
      <a:accent5>
        <a:srgbClr val="FBC682"/>
      </a:accent5>
      <a:accent6>
        <a:srgbClr val="FFF598"/>
      </a:accent6>
      <a:hlink>
        <a:srgbClr val="008BC5"/>
      </a:hlink>
      <a:folHlink>
        <a:srgbClr val="005192"/>
      </a:folHlink>
    </a:clrScheme>
    <a:fontScheme name="General 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lIns="0" tIns="0" rIns="0" bIns="0" rtlCol="0" anchor="t" anchorCtr="0"/>
      <a:lstStyle>
        <a:defPPr algn="l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400" b="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AN_Reference_16x9_Blue">
  <a:themeElements>
    <a:clrScheme name="AN Blue jan 2013">
      <a:dk1>
        <a:srgbClr val="000000"/>
      </a:dk1>
      <a:lt1>
        <a:srgbClr val="FFFFFF"/>
      </a:lt1>
      <a:dk2>
        <a:srgbClr val="868688"/>
      </a:dk2>
      <a:lt2>
        <a:srgbClr val="B7B9BA"/>
      </a:lt2>
      <a:accent1>
        <a:srgbClr val="005192"/>
      </a:accent1>
      <a:accent2>
        <a:srgbClr val="008BC5"/>
      </a:accent2>
      <a:accent3>
        <a:srgbClr val="0092BB"/>
      </a:accent3>
      <a:accent4>
        <a:srgbClr val="55BECF"/>
      </a:accent4>
      <a:accent5>
        <a:srgbClr val="44697D"/>
      </a:accent5>
      <a:accent6>
        <a:srgbClr val="B9C9D0"/>
      </a:accent6>
      <a:hlink>
        <a:srgbClr val="008BC5"/>
      </a:hlink>
      <a:folHlink>
        <a:srgbClr val="005192"/>
      </a:folHlink>
    </a:clrScheme>
    <a:fontScheme name="General 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lIns="0" tIns="0" rIns="0" bIns="0" rtlCol="0" anchor="t" anchorCtr="0"/>
      <a:lstStyle>
        <a:defPPr algn="l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400" b="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9</Words>
  <Application>Microsoft Office PowerPoint</Application>
  <PresentationFormat>On-screen Show (4:3)</PresentationFormat>
  <Paragraphs>28</Paragraphs>
  <Slides>6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N_Template_4x3_Blue</vt:lpstr>
      <vt:lpstr>AN_Reference_16x9_Blue</vt:lpstr>
      <vt:lpstr>think-cell Slide</vt:lpstr>
      <vt:lpstr>Worksheet</vt:lpstr>
      <vt:lpstr>AkzoNobeli ja Prangli saare ühisvärvimiste traditsioon </vt:lpstr>
      <vt:lpstr>Prangli kiriku ühisvärvimine 2014</vt:lpstr>
      <vt:lpstr>Prangli koolimaja ühisvärvimine 2015</vt:lpstr>
      <vt:lpstr>PowerPoint Presentation</vt:lpstr>
      <vt:lpstr>PowerPoint Presentation</vt:lpstr>
      <vt:lpstr>Tänud kuulamast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ial Bold 30pt</dc:title>
  <dc:creator>CAV.nl</dc:creator>
  <dc:description>AN Template 4x3 v2.0 March2013</dc:description>
  <cp:lastModifiedBy>Arthur A.</cp:lastModifiedBy>
  <cp:revision>170</cp:revision>
  <dcterms:created xsi:type="dcterms:W3CDTF">2013-02-28T13:59:59Z</dcterms:created>
  <dcterms:modified xsi:type="dcterms:W3CDTF">2017-08-25T07:50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UseProject">
    <vt:lpwstr>1</vt:lpwstr>
  </property>
  <property fmtid="{D5CDD505-2E9C-101B-9397-08002B2CF9AE}" pid="3" name="ArticulatePath">
    <vt:lpwstr>AN_Reference_4x3_Blue-2702_v2.3</vt:lpwstr>
  </property>
  <property fmtid="{D5CDD505-2E9C-101B-9397-08002B2CF9AE}" pid="4" name="ArticulateGUID">
    <vt:lpwstr>DD74C3AD-B2DD-4697-A911-5C242F2A24EE</vt:lpwstr>
  </property>
  <property fmtid="{D5CDD505-2E9C-101B-9397-08002B2CF9AE}" pid="5" name="ArticulateProjectFull">
    <vt:lpwstr>Z:\2013\AkzoNobel\templates_v2.1\AN_Template_Blue_FEB_2013\AN_Reference_4x3_Blue-2802_v2.6.ppta</vt:lpwstr>
  </property>
</Properties>
</file>